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8.xml" ContentType="application/vnd.openxmlformats-officedocument.presentationml.notesSlide+xml"/>
  <Override PartName="/ppt/tags/tag60.xml" ContentType="application/vnd.openxmlformats-officedocument.presentationml.tags+xml"/>
  <Override PartName="/ppt/notesSlides/notesSlide9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0.xml" ContentType="application/vnd.openxmlformats-officedocument.presentationml.notesSlide+xml"/>
  <Override PartName="/ppt/tags/tag63.xml" ContentType="application/vnd.openxmlformats-officedocument.presentationml.tags+xml"/>
  <Override PartName="/ppt/notesSlides/notesSlide11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2.xml" ContentType="application/vnd.openxmlformats-officedocument.presentationml.notesSlide+xml"/>
  <Override PartName="/ppt/tags/tag66.xml" ContentType="application/vnd.openxmlformats-officedocument.presentationml.tags+xml"/>
  <Override PartName="/ppt/notesSlides/notesSlide13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4.xml" ContentType="application/vnd.openxmlformats-officedocument.presentationml.notesSlide+xml"/>
  <Override PartName="/ppt/tags/tag69.xml" ContentType="application/vnd.openxmlformats-officedocument.presentationml.tags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4" r:id="rId1"/>
  </p:sldMasterIdLst>
  <p:notesMasterIdLst>
    <p:notesMasterId r:id="rId20"/>
  </p:notesMasterIdLst>
  <p:handoutMasterIdLst>
    <p:handoutMasterId r:id="rId21"/>
  </p:handoutMasterIdLst>
  <p:sldIdLst>
    <p:sldId id="5415" r:id="rId2"/>
    <p:sldId id="5416" r:id="rId3"/>
    <p:sldId id="5434" r:id="rId4"/>
    <p:sldId id="5418" r:id="rId5"/>
    <p:sldId id="5419" r:id="rId6"/>
    <p:sldId id="5420" r:id="rId7"/>
    <p:sldId id="5421" r:id="rId8"/>
    <p:sldId id="5422" r:id="rId9"/>
    <p:sldId id="5435" r:id="rId10"/>
    <p:sldId id="5437" r:id="rId11"/>
    <p:sldId id="5424" r:id="rId12"/>
    <p:sldId id="5425" r:id="rId13"/>
    <p:sldId id="5438" r:id="rId14"/>
    <p:sldId id="5432" r:id="rId15"/>
    <p:sldId id="5431" r:id="rId16"/>
    <p:sldId id="5429" r:id="rId17"/>
    <p:sldId id="5427" r:id="rId18"/>
    <p:sldId id="5428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F2F2F2"/>
    <a:srgbClr val="D0D0D0"/>
    <a:srgbClr val="575756"/>
    <a:srgbClr val="8094AF"/>
    <a:srgbClr val="BBD03A"/>
    <a:srgbClr val="0D3174"/>
    <a:srgbClr val="7F7F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42D7B1-B962-445E-8485-41980C3AF6B0}" v="3594" dt="2023-04-20T14:01:45.0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1069" autoAdjust="0"/>
  </p:normalViewPr>
  <p:slideViewPr>
    <p:cSldViewPr snapToGrid="0" snapToObjects="1" showGuides="1">
      <p:cViewPr varScale="1">
        <p:scale>
          <a:sx n="78" d="100"/>
          <a:sy n="78" d="100"/>
        </p:scale>
        <p:origin x="835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363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Relationship Id="rId30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erfler, Lena" userId="aeb0559f-200d-4a58-9e6d-125e1b704bf8" providerId="ADAL" clId="{2F42D7B1-B962-445E-8485-41980C3AF6B0}"/>
    <pc:docChg chg="undo redo custSel addSld delSld modSld sldOrd delMainMaster modMainMaster replTag">
      <pc:chgData name="Doerfler, Lena" userId="aeb0559f-200d-4a58-9e6d-125e1b704bf8" providerId="ADAL" clId="{2F42D7B1-B962-445E-8485-41980C3AF6B0}" dt="2023-04-20T14:04:50.929" v="15077" actId="1076"/>
      <pc:docMkLst>
        <pc:docMk/>
      </pc:docMkLst>
      <pc:sldChg chg="addSp delSp modSp del mod modNotes">
        <pc:chgData name="Doerfler, Lena" userId="aeb0559f-200d-4a58-9e6d-125e1b704bf8" providerId="ADAL" clId="{2F42D7B1-B962-445E-8485-41980C3AF6B0}" dt="2023-03-01T14:15:15.892" v="6887" actId="2696"/>
        <pc:sldMkLst>
          <pc:docMk/>
          <pc:sldMk cId="156521258" sldId="316"/>
        </pc:sldMkLst>
        <pc:spChg chg="add del mod modVis">
          <ac:chgData name="Doerfler, Lena" userId="aeb0559f-200d-4a58-9e6d-125e1b704bf8" providerId="ADAL" clId="{2F42D7B1-B962-445E-8485-41980C3AF6B0}" dt="2023-02-27T15:35:12.969" v="901"/>
          <ac:spMkLst>
            <pc:docMk/>
            <pc:sldMk cId="156521258" sldId="316"/>
            <ac:spMk id="2" creationId="{4016490F-03D6-B902-10F6-8584EC61D113}"/>
          </ac:spMkLst>
        </pc:spChg>
        <pc:spChg chg="mod">
          <ac:chgData name="Doerfler, Lena" userId="aeb0559f-200d-4a58-9e6d-125e1b704bf8" providerId="ADAL" clId="{2F42D7B1-B962-445E-8485-41980C3AF6B0}" dt="2023-02-27T15:37:40.099" v="2654" actId="790"/>
          <ac:spMkLst>
            <pc:docMk/>
            <pc:sldMk cId="156521258" sldId="316"/>
            <ac:spMk id="3" creationId="{98DF8654-973C-4858-942C-9E98DE0415C9}"/>
          </ac:spMkLst>
        </pc:spChg>
        <pc:spChg chg="mod">
          <ac:chgData name="Doerfler, Lena" userId="aeb0559f-200d-4a58-9e6d-125e1b704bf8" providerId="ADAL" clId="{2F42D7B1-B962-445E-8485-41980C3AF6B0}" dt="2023-02-27T15:37:40.099" v="2655" actId="790"/>
          <ac:spMkLst>
            <pc:docMk/>
            <pc:sldMk cId="156521258" sldId="316"/>
            <ac:spMk id="4" creationId="{1BE73BC0-C76D-41AE-8790-1746CD3812D8}"/>
          </ac:spMkLst>
        </pc:spChg>
        <pc:spChg chg="mod">
          <ac:chgData name="Doerfler, Lena" userId="aeb0559f-200d-4a58-9e6d-125e1b704bf8" providerId="ADAL" clId="{2F42D7B1-B962-445E-8485-41980C3AF6B0}" dt="2023-02-27T15:37:40.116" v="2656" actId="790"/>
          <ac:spMkLst>
            <pc:docMk/>
            <pc:sldMk cId="156521258" sldId="316"/>
            <ac:spMk id="5" creationId="{E8E4C8AC-AF05-411B-A16B-F7075CD7153B}"/>
          </ac:spMkLst>
        </pc:spChg>
        <pc:spChg chg="add del mod modVis">
          <ac:chgData name="Doerfler, Lena" userId="aeb0559f-200d-4a58-9e6d-125e1b704bf8" providerId="ADAL" clId="{2F42D7B1-B962-445E-8485-41980C3AF6B0}" dt="2023-02-27T15:35:13.609" v="946"/>
          <ac:spMkLst>
            <pc:docMk/>
            <pc:sldMk cId="156521258" sldId="316"/>
            <ac:spMk id="7" creationId="{DE17170B-92B4-2406-41E3-63E1AA27DF52}"/>
          </ac:spMkLst>
        </pc:spChg>
        <pc:spChg chg="add del mod modVis">
          <ac:chgData name="Doerfler, Lena" userId="aeb0559f-200d-4a58-9e6d-125e1b704bf8" providerId="ADAL" clId="{2F42D7B1-B962-445E-8485-41980C3AF6B0}" dt="2023-02-27T15:35:17.516" v="991"/>
          <ac:spMkLst>
            <pc:docMk/>
            <pc:sldMk cId="156521258" sldId="316"/>
            <ac:spMk id="9" creationId="{179DFF29-4F9E-42A3-1DD5-01BCBD3D9578}"/>
          </ac:spMkLst>
        </pc:spChg>
        <pc:spChg chg="add del mod modVis">
          <ac:chgData name="Doerfler, Lena" userId="aeb0559f-200d-4a58-9e6d-125e1b704bf8" providerId="ADAL" clId="{2F42D7B1-B962-445E-8485-41980C3AF6B0}" dt="2023-02-27T15:35:19.309" v="1039"/>
          <ac:spMkLst>
            <pc:docMk/>
            <pc:sldMk cId="156521258" sldId="316"/>
            <ac:spMk id="10" creationId="{8CEEC158-1FA7-BD88-8B87-45BA7048765B}"/>
          </ac:spMkLst>
        </pc:spChg>
        <pc:spChg chg="add del mod modVis">
          <ac:chgData name="Doerfler, Lena" userId="aeb0559f-200d-4a58-9e6d-125e1b704bf8" providerId="ADAL" clId="{2F42D7B1-B962-445E-8485-41980C3AF6B0}" dt="2023-02-27T15:35:21.482" v="1095"/>
          <ac:spMkLst>
            <pc:docMk/>
            <pc:sldMk cId="156521258" sldId="316"/>
            <ac:spMk id="11" creationId="{99602E3A-F153-C50F-506E-5EA81E1D04DF}"/>
          </ac:spMkLst>
        </pc:spChg>
        <pc:spChg chg="add del mod modVis">
          <ac:chgData name="Doerfler, Lena" userId="aeb0559f-200d-4a58-9e6d-125e1b704bf8" providerId="ADAL" clId="{2F42D7B1-B962-445E-8485-41980C3AF6B0}" dt="2023-02-27T15:35:23.443" v="1147"/>
          <ac:spMkLst>
            <pc:docMk/>
            <pc:sldMk cId="156521258" sldId="316"/>
            <ac:spMk id="12" creationId="{7B7C73C0-DE80-4F06-9CC8-8597972CE52E}"/>
          </ac:spMkLst>
        </pc:spChg>
        <pc:spChg chg="add del mod modVis">
          <ac:chgData name="Doerfler, Lena" userId="aeb0559f-200d-4a58-9e6d-125e1b704bf8" providerId="ADAL" clId="{2F42D7B1-B962-445E-8485-41980C3AF6B0}" dt="2023-02-27T15:35:24.882" v="1197"/>
          <ac:spMkLst>
            <pc:docMk/>
            <pc:sldMk cId="156521258" sldId="316"/>
            <ac:spMk id="13" creationId="{04819544-B9C9-B248-1A3E-A3834A226360}"/>
          </ac:spMkLst>
        </pc:spChg>
        <pc:spChg chg="add del mod modVis">
          <ac:chgData name="Doerfler, Lena" userId="aeb0559f-200d-4a58-9e6d-125e1b704bf8" providerId="ADAL" clId="{2F42D7B1-B962-445E-8485-41980C3AF6B0}" dt="2023-02-27T15:35:39.742" v="1270"/>
          <ac:spMkLst>
            <pc:docMk/>
            <pc:sldMk cId="156521258" sldId="316"/>
            <ac:spMk id="14" creationId="{181C44A2-4970-0ADB-0F58-72A8DF6DF686}"/>
          </ac:spMkLst>
        </pc:spChg>
        <pc:spChg chg="add del mod modVis">
          <ac:chgData name="Doerfler, Lena" userId="aeb0559f-200d-4a58-9e6d-125e1b704bf8" providerId="ADAL" clId="{2F42D7B1-B962-445E-8485-41980C3AF6B0}" dt="2023-02-27T15:35:40.667" v="1316"/>
          <ac:spMkLst>
            <pc:docMk/>
            <pc:sldMk cId="156521258" sldId="316"/>
            <ac:spMk id="15" creationId="{F97C8A7D-7741-6C3C-221F-40A2806FE54D}"/>
          </ac:spMkLst>
        </pc:spChg>
        <pc:graphicFrameChg chg="mod">
          <ac:chgData name="Doerfler, Lena" userId="aeb0559f-200d-4a58-9e6d-125e1b704bf8" providerId="ADAL" clId="{2F42D7B1-B962-445E-8485-41980C3AF6B0}" dt="2023-02-27T15:35:40.675" v="1318"/>
          <ac:graphicFrameMkLst>
            <pc:docMk/>
            <pc:sldMk cId="156521258" sldId="316"/>
            <ac:graphicFrameMk id="6" creationId="{CB337494-50C0-0067-26D1-43F4E9BF1A77}"/>
          </ac:graphicFrameMkLst>
        </pc:graphicFrameChg>
      </pc:sldChg>
      <pc:sldChg chg="addSp delSp modSp del mod modNotes">
        <pc:chgData name="Doerfler, Lena" userId="aeb0559f-200d-4a58-9e6d-125e1b704bf8" providerId="ADAL" clId="{2F42D7B1-B962-445E-8485-41980C3AF6B0}" dt="2023-03-01T14:15:16.080" v="6891" actId="2696"/>
        <pc:sldMkLst>
          <pc:docMk/>
          <pc:sldMk cId="1359918514" sldId="322"/>
        </pc:sldMkLst>
        <pc:spChg chg="mod">
          <ac:chgData name="Doerfler, Lena" userId="aeb0559f-200d-4a58-9e6d-125e1b704bf8" providerId="ADAL" clId="{2F42D7B1-B962-445E-8485-41980C3AF6B0}" dt="2023-02-27T15:37:40.259" v="2724" actId="790"/>
          <ac:spMkLst>
            <pc:docMk/>
            <pc:sldMk cId="1359918514" sldId="322"/>
            <ac:spMk id="2" creationId="{EC564122-7C24-4E05-A89C-FF1EB561C91C}"/>
          </ac:spMkLst>
        </pc:spChg>
        <pc:spChg chg="add del mod">
          <ac:chgData name="Doerfler, Lena" userId="aeb0559f-200d-4a58-9e6d-125e1b704bf8" providerId="ADAL" clId="{2F42D7B1-B962-445E-8485-41980C3AF6B0}" dt="2023-02-27T15:37:19.642" v="2514"/>
          <ac:spMkLst>
            <pc:docMk/>
            <pc:sldMk cId="1359918514" sldId="322"/>
            <ac:spMk id="3" creationId="{97FD5DCC-209C-103A-CBCA-5723DE03645B}"/>
          </ac:spMkLst>
        </pc:spChg>
        <pc:spChg chg="add del mod">
          <ac:chgData name="Doerfler, Lena" userId="aeb0559f-200d-4a58-9e6d-125e1b704bf8" providerId="ADAL" clId="{2F42D7B1-B962-445E-8485-41980C3AF6B0}" dt="2023-02-27T15:37:41.268" v="3021"/>
          <ac:spMkLst>
            <pc:docMk/>
            <pc:sldMk cId="1359918514" sldId="322"/>
            <ac:spMk id="4" creationId="{66BCE9BD-1B0C-651B-D7B8-3CDE5E4D45F9}"/>
          </ac:spMkLst>
        </pc:spChg>
        <pc:spChg chg="del mod">
          <ac:chgData name="Doerfler, Lena" userId="aeb0559f-200d-4a58-9e6d-125e1b704bf8" providerId="ADAL" clId="{2F42D7B1-B962-445E-8485-41980C3AF6B0}" dt="2023-02-27T15:36:41.193" v="1875"/>
          <ac:spMkLst>
            <pc:docMk/>
            <pc:sldMk cId="1359918514" sldId="322"/>
            <ac:spMk id="5" creationId="{726E02EE-0E90-4CB7-9B38-A55317BB14A8}"/>
          </ac:spMkLst>
        </pc:spChg>
        <pc:spChg chg="add mod">
          <ac:chgData name="Doerfler, Lena" userId="aeb0559f-200d-4a58-9e6d-125e1b704bf8" providerId="ADAL" clId="{2F42D7B1-B962-445E-8485-41980C3AF6B0}" dt="2023-02-27T15:37:41.268" v="3022"/>
          <ac:spMkLst>
            <pc:docMk/>
            <pc:sldMk cId="1359918514" sldId="322"/>
            <ac:spMk id="8" creationId="{8EC42A66-09ED-9EB0-F836-4414272BFF8E}"/>
          </ac:spMkLst>
        </pc:spChg>
        <pc:spChg chg="mod">
          <ac:chgData name="Doerfler, Lena" userId="aeb0559f-200d-4a58-9e6d-125e1b704bf8" providerId="ADAL" clId="{2F42D7B1-B962-445E-8485-41980C3AF6B0}" dt="2023-02-28T09:29:32.683" v="4229" actId="6549"/>
          <ac:spMkLst>
            <pc:docMk/>
            <pc:sldMk cId="1359918514" sldId="322"/>
            <ac:spMk id="19" creationId="{F95CB641-F88B-4F08-9984-BCDC7C7D17B6}"/>
          </ac:spMkLst>
        </pc:spChg>
        <pc:spChg chg="mod">
          <ac:chgData name="Doerfler, Lena" userId="aeb0559f-200d-4a58-9e6d-125e1b704bf8" providerId="ADAL" clId="{2F42D7B1-B962-445E-8485-41980C3AF6B0}" dt="2023-02-27T15:37:40.267" v="2730" actId="790"/>
          <ac:spMkLst>
            <pc:docMk/>
            <pc:sldMk cId="1359918514" sldId="322"/>
            <ac:spMk id="30" creationId="{F50AE6F5-E442-43D5-A48C-4D0E690956DB}"/>
          </ac:spMkLst>
        </pc:spChg>
        <pc:spChg chg="mod">
          <ac:chgData name="Doerfler, Lena" userId="aeb0559f-200d-4a58-9e6d-125e1b704bf8" providerId="ADAL" clId="{2F42D7B1-B962-445E-8485-41980C3AF6B0}" dt="2023-02-27T15:37:40.277" v="2731" actId="790"/>
          <ac:spMkLst>
            <pc:docMk/>
            <pc:sldMk cId="1359918514" sldId="322"/>
            <ac:spMk id="31" creationId="{3EF689C5-CC19-4546-AE44-984C331FE8BC}"/>
          </ac:spMkLst>
        </pc:spChg>
        <pc:spChg chg="mod">
          <ac:chgData name="Doerfler, Lena" userId="aeb0559f-200d-4a58-9e6d-125e1b704bf8" providerId="ADAL" clId="{2F42D7B1-B962-445E-8485-41980C3AF6B0}" dt="2023-02-27T15:37:40.277" v="2736" actId="790"/>
          <ac:spMkLst>
            <pc:docMk/>
            <pc:sldMk cId="1359918514" sldId="322"/>
            <ac:spMk id="76" creationId="{BAA968A9-BBA1-443D-8D9F-C3B449D4CE02}"/>
          </ac:spMkLst>
        </pc:spChg>
        <pc:spChg chg="mod">
          <ac:chgData name="Doerfler, Lena" userId="aeb0559f-200d-4a58-9e6d-125e1b704bf8" providerId="ADAL" clId="{2F42D7B1-B962-445E-8485-41980C3AF6B0}" dt="2023-02-27T15:37:40.277" v="2738" actId="790"/>
          <ac:spMkLst>
            <pc:docMk/>
            <pc:sldMk cId="1359918514" sldId="322"/>
            <ac:spMk id="77" creationId="{3C6D689C-BEE1-4F14-AD64-C0CB86C101F3}"/>
          </ac:spMkLst>
        </pc:spChg>
        <pc:spChg chg="mod">
          <ac:chgData name="Doerfler, Lena" userId="aeb0559f-200d-4a58-9e6d-125e1b704bf8" providerId="ADAL" clId="{2F42D7B1-B962-445E-8485-41980C3AF6B0}" dt="2023-02-27T15:37:40.277" v="2737" actId="790"/>
          <ac:spMkLst>
            <pc:docMk/>
            <pc:sldMk cId="1359918514" sldId="322"/>
            <ac:spMk id="78" creationId="{52D1F5EF-DF0F-411A-BF55-FEA64843BA73}"/>
          </ac:spMkLst>
        </pc:spChg>
        <pc:spChg chg="mod">
          <ac:chgData name="Doerfler, Lena" userId="aeb0559f-200d-4a58-9e6d-125e1b704bf8" providerId="ADAL" clId="{2F42D7B1-B962-445E-8485-41980C3AF6B0}" dt="2023-02-27T15:37:40.277" v="2732" actId="790"/>
          <ac:spMkLst>
            <pc:docMk/>
            <pc:sldMk cId="1359918514" sldId="322"/>
            <ac:spMk id="84" creationId="{DF4E5A7F-6F68-4FFC-B130-044EAF774BA3}"/>
          </ac:spMkLst>
        </pc:spChg>
        <pc:spChg chg="mod">
          <ac:chgData name="Doerfler, Lena" userId="aeb0559f-200d-4a58-9e6d-125e1b704bf8" providerId="ADAL" clId="{2F42D7B1-B962-445E-8485-41980C3AF6B0}" dt="2023-02-27T15:37:40.277" v="2733" actId="790"/>
          <ac:spMkLst>
            <pc:docMk/>
            <pc:sldMk cId="1359918514" sldId="322"/>
            <ac:spMk id="97" creationId="{A36A0E65-383A-49D2-857A-3244BA067202}"/>
          </ac:spMkLst>
        </pc:spChg>
        <pc:spChg chg="mod">
          <ac:chgData name="Doerfler, Lena" userId="aeb0559f-200d-4a58-9e6d-125e1b704bf8" providerId="ADAL" clId="{2F42D7B1-B962-445E-8485-41980C3AF6B0}" dt="2023-02-27T15:37:40.287" v="2741" actId="790"/>
          <ac:spMkLst>
            <pc:docMk/>
            <pc:sldMk cId="1359918514" sldId="322"/>
            <ac:spMk id="117" creationId="{ECD5799F-F0D2-AE93-D254-65EF038E065D}"/>
          </ac:spMkLst>
        </pc:spChg>
        <pc:spChg chg="mod">
          <ac:chgData name="Doerfler, Lena" userId="aeb0559f-200d-4a58-9e6d-125e1b704bf8" providerId="ADAL" clId="{2F42D7B1-B962-445E-8485-41980C3AF6B0}" dt="2023-02-27T15:37:40.267" v="2729" actId="790"/>
          <ac:spMkLst>
            <pc:docMk/>
            <pc:sldMk cId="1359918514" sldId="322"/>
            <ac:spMk id="119" creationId="{C5E9F0F0-C7FF-4429-ADD5-EA6FC58908C4}"/>
          </ac:spMkLst>
        </pc:spChg>
        <pc:spChg chg="mod">
          <ac:chgData name="Doerfler, Lena" userId="aeb0559f-200d-4a58-9e6d-125e1b704bf8" providerId="ADAL" clId="{2F42D7B1-B962-445E-8485-41980C3AF6B0}" dt="2023-02-27T15:37:40.277" v="2734" actId="790"/>
          <ac:spMkLst>
            <pc:docMk/>
            <pc:sldMk cId="1359918514" sldId="322"/>
            <ac:spMk id="120" creationId="{1D2F6011-C453-47D0-87D8-81F99A13A90B}"/>
          </ac:spMkLst>
        </pc:spChg>
        <pc:spChg chg="mod">
          <ac:chgData name="Doerfler, Lena" userId="aeb0559f-200d-4a58-9e6d-125e1b704bf8" providerId="ADAL" clId="{2F42D7B1-B962-445E-8485-41980C3AF6B0}" dt="2023-02-27T15:37:40.277" v="2735" actId="790"/>
          <ac:spMkLst>
            <pc:docMk/>
            <pc:sldMk cId="1359918514" sldId="322"/>
            <ac:spMk id="122" creationId="{710517F2-E228-48AA-9F47-F9CFEBA56FD3}"/>
          </ac:spMkLst>
        </pc:spChg>
        <pc:spChg chg="mod">
          <ac:chgData name="Doerfler, Lena" userId="aeb0559f-200d-4a58-9e6d-125e1b704bf8" providerId="ADAL" clId="{2F42D7B1-B962-445E-8485-41980C3AF6B0}" dt="2023-02-27T15:37:40.259" v="2726" actId="790"/>
          <ac:spMkLst>
            <pc:docMk/>
            <pc:sldMk cId="1359918514" sldId="322"/>
            <ac:spMk id="124" creationId="{5DA6D5DD-8BB7-41CE-8E21-68031A6EA105}"/>
          </ac:spMkLst>
        </pc:spChg>
        <pc:spChg chg="mod">
          <ac:chgData name="Doerfler, Lena" userId="aeb0559f-200d-4a58-9e6d-125e1b704bf8" providerId="ADAL" clId="{2F42D7B1-B962-445E-8485-41980C3AF6B0}" dt="2023-02-27T15:37:40.259" v="2727" actId="790"/>
          <ac:spMkLst>
            <pc:docMk/>
            <pc:sldMk cId="1359918514" sldId="322"/>
            <ac:spMk id="158" creationId="{79789B14-85A9-4A75-8F18-BF292E474850}"/>
          </ac:spMkLst>
        </pc:spChg>
        <pc:spChg chg="mod">
          <ac:chgData name="Doerfler, Lena" userId="aeb0559f-200d-4a58-9e6d-125e1b704bf8" providerId="ADAL" clId="{2F42D7B1-B962-445E-8485-41980C3AF6B0}" dt="2023-02-27T15:37:40.267" v="2728" actId="790"/>
          <ac:spMkLst>
            <pc:docMk/>
            <pc:sldMk cId="1359918514" sldId="322"/>
            <ac:spMk id="159" creationId="{15B7919F-24FE-437C-B887-195A668FB897}"/>
          </ac:spMkLst>
        </pc:spChg>
        <pc:spChg chg="mod">
          <ac:chgData name="Doerfler, Lena" userId="aeb0559f-200d-4a58-9e6d-125e1b704bf8" providerId="ADAL" clId="{2F42D7B1-B962-445E-8485-41980C3AF6B0}" dt="2023-02-27T15:37:40.259" v="2723" actId="790"/>
          <ac:spMkLst>
            <pc:docMk/>
            <pc:sldMk cId="1359918514" sldId="322"/>
            <ac:spMk id="162" creationId="{8030D285-078A-4025-BDC5-3640B519198A}"/>
          </ac:spMkLst>
        </pc:spChg>
        <pc:spChg chg="mod">
          <ac:chgData name="Doerfler, Lena" userId="aeb0559f-200d-4a58-9e6d-125e1b704bf8" providerId="ADAL" clId="{2F42D7B1-B962-445E-8485-41980C3AF6B0}" dt="2023-02-27T15:37:40.277" v="2739" actId="790"/>
          <ac:spMkLst>
            <pc:docMk/>
            <pc:sldMk cId="1359918514" sldId="322"/>
            <ac:spMk id="185" creationId="{8E05DF33-5A80-4767-A9CF-B2DC3689626C}"/>
          </ac:spMkLst>
        </pc:spChg>
        <pc:spChg chg="mod">
          <ac:chgData name="Doerfler, Lena" userId="aeb0559f-200d-4a58-9e6d-125e1b704bf8" providerId="ADAL" clId="{2F42D7B1-B962-445E-8485-41980C3AF6B0}" dt="2023-02-27T15:37:40.259" v="2722" actId="790"/>
          <ac:spMkLst>
            <pc:docMk/>
            <pc:sldMk cId="1359918514" sldId="322"/>
            <ac:spMk id="190" creationId="{FA717EC3-A8A9-4F53-8790-5A83DEA4C6FD}"/>
          </ac:spMkLst>
        </pc:spChg>
        <pc:spChg chg="mod">
          <ac:chgData name="Doerfler, Lena" userId="aeb0559f-200d-4a58-9e6d-125e1b704bf8" providerId="ADAL" clId="{2F42D7B1-B962-445E-8485-41980C3AF6B0}" dt="2023-02-27T15:37:40.287" v="2740" actId="790"/>
          <ac:spMkLst>
            <pc:docMk/>
            <pc:sldMk cId="1359918514" sldId="322"/>
            <ac:spMk id="201" creationId="{A7C1CF94-B683-43EB-A694-61623756A60D}"/>
          </ac:spMkLst>
        </pc:spChg>
      </pc:sldChg>
      <pc:sldChg chg="addSp delSp modSp del mod ord modTransition delAnim modAnim modShow modNotes">
        <pc:chgData name="Doerfler, Lena" userId="aeb0559f-200d-4a58-9e6d-125e1b704bf8" providerId="ADAL" clId="{2F42D7B1-B962-445E-8485-41980C3AF6B0}" dt="2023-03-01T14:15:16.354" v="6900" actId="2696"/>
        <pc:sldMkLst>
          <pc:docMk/>
          <pc:sldMk cId="1312478682" sldId="372"/>
        </pc:sldMkLst>
        <pc:spChg chg="mod">
          <ac:chgData name="Doerfler, Lena" userId="aeb0559f-200d-4a58-9e6d-125e1b704bf8" providerId="ADAL" clId="{2F42D7B1-B962-445E-8485-41980C3AF6B0}" dt="2023-02-27T15:37:40.442" v="2820" actId="790"/>
          <ac:spMkLst>
            <pc:docMk/>
            <pc:sldMk cId="1312478682" sldId="372"/>
            <ac:spMk id="2" creationId="{AFE051B7-4B17-4304-9F3D-FD078856BA01}"/>
          </ac:spMkLst>
        </pc:spChg>
        <pc:spChg chg="mod">
          <ac:chgData name="Doerfler, Lena" userId="aeb0559f-200d-4a58-9e6d-125e1b704bf8" providerId="ADAL" clId="{2F42D7B1-B962-445E-8485-41980C3AF6B0}" dt="2023-02-27T15:37:40.467" v="2832" actId="790"/>
          <ac:spMkLst>
            <pc:docMk/>
            <pc:sldMk cId="1312478682" sldId="372"/>
            <ac:spMk id="3" creationId="{4910CDE6-2667-4A2B-B621-A9C6C0943621}"/>
          </ac:spMkLst>
        </pc:spChg>
        <pc:spChg chg="mod">
          <ac:chgData name="Doerfler, Lena" userId="aeb0559f-200d-4a58-9e6d-125e1b704bf8" providerId="ADAL" clId="{2F42D7B1-B962-445E-8485-41980C3AF6B0}" dt="2023-02-27T15:37:40.488" v="2847" actId="790"/>
          <ac:spMkLst>
            <pc:docMk/>
            <pc:sldMk cId="1312478682" sldId="372"/>
            <ac:spMk id="11" creationId="{936D6CF2-6FE1-441E-B9B6-E98C4D5E6175}"/>
          </ac:spMkLst>
        </pc:spChg>
        <pc:spChg chg="add del mod modVis">
          <ac:chgData name="Doerfler, Lena" userId="aeb0559f-200d-4a58-9e6d-125e1b704bf8" providerId="ADAL" clId="{2F42D7B1-B962-445E-8485-41980C3AF6B0}" dt="2023-02-27T15:32:43.116" v="496"/>
          <ac:spMkLst>
            <pc:docMk/>
            <pc:sldMk cId="1312478682" sldId="372"/>
            <ac:spMk id="31" creationId="{DC5EC173-7043-D0A9-4A95-40B5FB5DF82A}"/>
          </ac:spMkLst>
        </pc:spChg>
        <pc:spChg chg="mod topLvl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66" creationId="{BD2CABC9-2D89-42B7-AF30-297321043BB4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93" creationId="{D9AB3540-8970-4F49-8A0E-726604D25A54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94" creationId="{4A42A77F-4CA2-47FA-95B7-9F3F59A3B431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95" creationId="{D1456288-4529-457D-AEDB-7BCC4B63A3D1}"/>
          </ac:spMkLst>
        </pc:spChg>
        <pc:spChg chg="mod topLvl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00" creationId="{35F7514F-4AA6-4BB6-872F-1333B8452E8B}"/>
          </ac:spMkLst>
        </pc:spChg>
        <pc:spChg chg="mod topLvl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07" creationId="{A3EEFF1E-6C5D-4DAF-BC14-BD26A927301E}"/>
          </ac:spMkLst>
        </pc:spChg>
        <pc:spChg chg="mod topLvl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42" creationId="{3C03EA5A-D8C2-42DC-9500-CE52BF525275}"/>
          </ac:spMkLst>
        </pc:spChg>
        <pc:spChg chg="mod">
          <ac:chgData name="Doerfler, Lena" userId="aeb0559f-200d-4a58-9e6d-125e1b704bf8" providerId="ADAL" clId="{2F42D7B1-B962-445E-8485-41980C3AF6B0}" dt="2023-02-27T15:37:40.467" v="2833" actId="790"/>
          <ac:spMkLst>
            <pc:docMk/>
            <pc:sldMk cId="1312478682" sldId="372"/>
            <ac:spMk id="147" creationId="{8C74C9DC-0F99-4D5F-AE6E-BD595B03F328}"/>
          </ac:spMkLst>
        </pc:spChg>
        <pc:spChg chg="mod">
          <ac:chgData name="Doerfler, Lena" userId="aeb0559f-200d-4a58-9e6d-125e1b704bf8" providerId="ADAL" clId="{2F42D7B1-B962-445E-8485-41980C3AF6B0}" dt="2023-02-27T15:37:40.467" v="2834" actId="790"/>
          <ac:spMkLst>
            <pc:docMk/>
            <pc:sldMk cId="1312478682" sldId="372"/>
            <ac:spMk id="148" creationId="{034F35AF-5449-4C9E-8E21-89FAC0BAE92F}"/>
          </ac:spMkLst>
        </pc:spChg>
        <pc:spChg chg="mod">
          <ac:chgData name="Doerfler, Lena" userId="aeb0559f-200d-4a58-9e6d-125e1b704bf8" providerId="ADAL" clId="{2F42D7B1-B962-445E-8485-41980C3AF6B0}" dt="2023-02-27T15:37:40.467" v="2835" actId="790"/>
          <ac:spMkLst>
            <pc:docMk/>
            <pc:sldMk cId="1312478682" sldId="372"/>
            <ac:spMk id="149" creationId="{D460750A-3C68-419D-BFFA-1851E2E1EA8F}"/>
          </ac:spMkLst>
        </pc:spChg>
        <pc:spChg chg="mod">
          <ac:chgData name="Doerfler, Lena" userId="aeb0559f-200d-4a58-9e6d-125e1b704bf8" providerId="ADAL" clId="{2F42D7B1-B962-445E-8485-41980C3AF6B0}" dt="2023-02-27T15:37:40.477" v="2836" actId="790"/>
          <ac:spMkLst>
            <pc:docMk/>
            <pc:sldMk cId="1312478682" sldId="372"/>
            <ac:spMk id="150" creationId="{F069F003-DDC7-4183-AE13-4A8FBC4E6D75}"/>
          </ac:spMkLst>
        </pc:spChg>
        <pc:spChg chg="mod topLvl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56" creationId="{90E3219B-AA2B-43EA-98E4-9ED9D7F53991}"/>
          </ac:spMkLst>
        </pc:spChg>
        <pc:spChg chg="del">
          <ac:chgData name="Doerfler, Lena" userId="aeb0559f-200d-4a58-9e6d-125e1b704bf8" providerId="ADAL" clId="{2F42D7B1-B962-445E-8485-41980C3AF6B0}" dt="2023-02-27T15:32:14.699" v="206" actId="478"/>
          <ac:spMkLst>
            <pc:docMk/>
            <pc:sldMk cId="1312478682" sldId="372"/>
            <ac:spMk id="158" creationId="{F501A8B1-E52B-4015-9CB7-E8B79D350B26}"/>
          </ac:spMkLst>
        </pc:spChg>
        <pc:spChg chg="mod topLvl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59" creationId="{1E95FBFF-3B6A-45EB-93C7-8A59226DA3A3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60" creationId="{A58A3418-C11D-4F1B-8A41-E08AB3EE1D3F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61" creationId="{19E1C3AC-FC37-4200-A286-EC892DB76C79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62" creationId="{38A41C1F-E9DF-4BEC-A980-F74DC828EEAF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65" creationId="{743C1597-E154-4905-BF00-8C345DA961D1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69" creationId="{C4D8B9BA-3B9D-4F3E-B766-24C33EE538F7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70" creationId="{9BF82540-4863-4487-86D8-06DD25F2CC42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71" creationId="{7079C9C0-138A-4601-A05B-7573342E9125}"/>
          </ac:spMkLst>
        </pc:spChg>
        <pc:spChg chg="mod">
          <ac:chgData name="Doerfler, Lena" userId="aeb0559f-200d-4a58-9e6d-125e1b704bf8" providerId="ADAL" clId="{2F42D7B1-B962-445E-8485-41980C3AF6B0}" dt="2023-02-27T15:54:36.367" v="3260" actId="14100"/>
          <ac:spMkLst>
            <pc:docMk/>
            <pc:sldMk cId="1312478682" sldId="372"/>
            <ac:spMk id="172" creationId="{870F05DD-682B-48F1-A4A1-ED7CF4C8CC35}"/>
          </ac:spMkLst>
        </pc:spChg>
        <pc:spChg chg="mod topLvl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73" creationId="{2122B5BF-1EB5-46B4-B5B5-9A4FC3E33622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76" creationId="{95A879AA-1866-434B-9ECF-B483009B693A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77" creationId="{8BA77858-452B-47BE-98EF-08D1F608896B}"/>
          </ac:spMkLst>
        </pc:spChg>
        <pc:spChg chg="mod topLvl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79" creationId="{09DF55E9-BBE2-49D5-AB15-D0C1E7765158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80" creationId="{162626FE-9B24-4EF1-AB62-3D5837AB8F3A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81" creationId="{C2114BF6-DD62-4EE0-9C56-C7921BFACE20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82" creationId="{0F822059-4CF3-4D6D-8FC7-AA956ACE3BDB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83" creationId="{9823F9F1-FF3F-4FF5-AD4F-EA406F38B4D3}"/>
          </ac:spMkLst>
        </pc:spChg>
        <pc:spChg chg="mod">
          <ac:chgData name="Doerfler, Lena" userId="aeb0559f-200d-4a58-9e6d-125e1b704bf8" providerId="ADAL" clId="{2F42D7B1-B962-445E-8485-41980C3AF6B0}" dt="2023-02-27T15:37:40.477" v="2837" actId="790"/>
          <ac:spMkLst>
            <pc:docMk/>
            <pc:sldMk cId="1312478682" sldId="372"/>
            <ac:spMk id="184" creationId="{B2F20D70-0F46-41C0-AA24-0820F799BF15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85" creationId="{8512C8B7-840F-4C42-8B19-99485DA5140A}"/>
          </ac:spMkLst>
        </pc:spChg>
        <pc:spChg chg="mod topLvl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86" creationId="{D1916E11-6BD0-4D7E-9E53-EFAA3426E503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87" creationId="{3736F1FE-51C5-4F2F-B0E8-A3A265DE8FE6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88" creationId="{D1CD53D2-F5FB-4B08-9574-408CD54FBE68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189" creationId="{20F07DA2-D892-4B8F-85D1-A05C0DD7C23E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93" creationId="{FCD78126-04B7-4B30-A54E-D812462A14A6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94" creationId="{0E012F85-B701-4D13-9BD8-12248133FCBC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195" creationId="{866964B5-C993-4C99-9536-3D959E7CABC2}"/>
          </ac:spMkLst>
        </pc:spChg>
        <pc:spChg chg="mod">
          <ac:chgData name="Doerfler, Lena" userId="aeb0559f-200d-4a58-9e6d-125e1b704bf8" providerId="ADAL" clId="{2F42D7B1-B962-445E-8485-41980C3AF6B0}" dt="2023-02-27T15:37:40.477" v="2838" actId="790"/>
          <ac:spMkLst>
            <pc:docMk/>
            <pc:sldMk cId="1312478682" sldId="372"/>
            <ac:spMk id="197" creationId="{FFE831F4-D06B-46AD-8D62-1BA6EECDB890}"/>
          </ac:spMkLst>
        </pc:spChg>
        <pc:spChg chg="mod">
          <ac:chgData name="Doerfler, Lena" userId="aeb0559f-200d-4a58-9e6d-125e1b704bf8" providerId="ADAL" clId="{2F42D7B1-B962-445E-8485-41980C3AF6B0}" dt="2023-02-27T15:37:40.477" v="2839" actId="790"/>
          <ac:spMkLst>
            <pc:docMk/>
            <pc:sldMk cId="1312478682" sldId="372"/>
            <ac:spMk id="198" creationId="{D4BA5CEE-F685-49AE-BA5F-BA8355471E53}"/>
          </ac:spMkLst>
        </pc:spChg>
        <pc:spChg chg="mod">
          <ac:chgData name="Doerfler, Lena" userId="aeb0559f-200d-4a58-9e6d-125e1b704bf8" providerId="ADAL" clId="{2F42D7B1-B962-445E-8485-41980C3AF6B0}" dt="2023-02-27T15:37:40.477" v="2840" actId="790"/>
          <ac:spMkLst>
            <pc:docMk/>
            <pc:sldMk cId="1312478682" sldId="372"/>
            <ac:spMk id="199" creationId="{A504E7BC-04C6-443D-A7C7-D976091388CD}"/>
          </ac:spMkLst>
        </pc:spChg>
        <pc:spChg chg="mod">
          <ac:chgData name="Doerfler, Lena" userId="aeb0559f-200d-4a58-9e6d-125e1b704bf8" providerId="ADAL" clId="{2F42D7B1-B962-445E-8485-41980C3AF6B0}" dt="2023-02-27T15:37:40.477" v="2841" actId="790"/>
          <ac:spMkLst>
            <pc:docMk/>
            <pc:sldMk cId="1312478682" sldId="372"/>
            <ac:spMk id="200" creationId="{C386541E-E005-4186-ABAF-4CF7EE487FDE}"/>
          </ac:spMkLst>
        </pc:spChg>
        <pc:spChg chg="mod">
          <ac:chgData name="Doerfler, Lena" userId="aeb0559f-200d-4a58-9e6d-125e1b704bf8" providerId="ADAL" clId="{2F42D7B1-B962-445E-8485-41980C3AF6B0}" dt="2023-02-27T15:37:40.477" v="2842" actId="790"/>
          <ac:spMkLst>
            <pc:docMk/>
            <pc:sldMk cId="1312478682" sldId="372"/>
            <ac:spMk id="201" creationId="{43A288CA-4FCC-4198-A5E5-98C8167D67EE}"/>
          </ac:spMkLst>
        </pc:spChg>
        <pc:spChg chg="mod">
          <ac:chgData name="Doerfler, Lena" userId="aeb0559f-200d-4a58-9e6d-125e1b704bf8" providerId="ADAL" clId="{2F42D7B1-B962-445E-8485-41980C3AF6B0}" dt="2023-02-27T15:37:40.477" v="2843" actId="790"/>
          <ac:spMkLst>
            <pc:docMk/>
            <pc:sldMk cId="1312478682" sldId="372"/>
            <ac:spMk id="202" creationId="{9C49880B-90AC-4E00-9D47-5552239F0049}"/>
          </ac:spMkLst>
        </pc:spChg>
        <pc:spChg chg="mod topLvl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03" creationId="{926BC9CC-EA1E-4F64-A856-6151FB547913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08" creationId="{21784E5A-7823-44D3-B1CC-14B5AF696806}"/>
          </ac:spMkLst>
        </pc:spChg>
        <pc:spChg chg="mod">
          <ac:chgData name="Doerfler, Lena" userId="aeb0559f-200d-4a58-9e6d-125e1b704bf8" providerId="ADAL" clId="{2F42D7B1-B962-445E-8485-41980C3AF6B0}" dt="2023-02-27T15:37:40.477" v="2844" actId="790"/>
          <ac:spMkLst>
            <pc:docMk/>
            <pc:sldMk cId="1312478682" sldId="372"/>
            <ac:spMk id="209" creationId="{E56591C8-CA8F-4DAC-8796-A1A4519B31B5}"/>
          </ac:spMkLst>
        </pc:spChg>
        <pc:spChg chg="mod">
          <ac:chgData name="Doerfler, Lena" userId="aeb0559f-200d-4a58-9e6d-125e1b704bf8" providerId="ADAL" clId="{2F42D7B1-B962-445E-8485-41980C3AF6B0}" dt="2023-02-27T15:37:40.488" v="2845" actId="790"/>
          <ac:spMkLst>
            <pc:docMk/>
            <pc:sldMk cId="1312478682" sldId="372"/>
            <ac:spMk id="210" creationId="{E9C1757D-3EEF-4631-BFC6-D0742B1399E6}"/>
          </ac:spMkLst>
        </pc:spChg>
        <pc:spChg chg="mod">
          <ac:chgData name="Doerfler, Lena" userId="aeb0559f-200d-4a58-9e6d-125e1b704bf8" providerId="ADAL" clId="{2F42D7B1-B962-445E-8485-41980C3AF6B0}" dt="2023-02-27T15:37:40.488" v="2846" actId="790"/>
          <ac:spMkLst>
            <pc:docMk/>
            <pc:sldMk cId="1312478682" sldId="372"/>
            <ac:spMk id="211" creationId="{D0A82BB6-32C9-4153-89FE-87B70EB18F67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12" creationId="{D54A4174-9A71-4119-B221-E832E62D8F3E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14" creationId="{370453F3-837E-4A6E-9AED-1FEE1BC0B1B1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15" creationId="{162416EC-A1DC-435B-A9DE-B25ADE598EA4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216" creationId="{B0D6FABD-86E0-449C-93CC-F1BCC88CE29A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217" creationId="{919329F1-9361-4330-9B46-53FC53635EE8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218" creationId="{433AC36B-A81E-4F6F-95BD-7E62F9F33F7B}"/>
          </ac:spMkLst>
        </pc:spChg>
        <pc:spChg chg="add del mod modVis">
          <ac:chgData name="Doerfler, Lena" userId="aeb0559f-200d-4a58-9e6d-125e1b704bf8" providerId="ADAL" clId="{2F42D7B1-B962-445E-8485-41980C3AF6B0}" dt="2023-02-27T15:32:43.832" v="542"/>
          <ac:spMkLst>
            <pc:docMk/>
            <pc:sldMk cId="1312478682" sldId="372"/>
            <ac:spMk id="224" creationId="{3B203BE9-5AEB-0CD5-3233-E7867733F53A}"/>
          </ac:spMkLst>
        </pc:spChg>
        <pc:spChg chg="add mod">
          <ac:chgData name="Doerfler, Lena" userId="aeb0559f-200d-4a58-9e6d-125e1b704bf8" providerId="ADAL" clId="{2F42D7B1-B962-445E-8485-41980C3AF6B0}" dt="2023-02-27T15:37:40.626" v="2919" actId="790"/>
          <ac:spMkLst>
            <pc:docMk/>
            <pc:sldMk cId="1312478682" sldId="372"/>
            <ac:spMk id="225" creationId="{802CC529-6553-E5F3-37F7-2902FAC4B6C3}"/>
          </ac:spMkLst>
        </pc:spChg>
        <pc:spChg chg="add del mod">
          <ac:chgData name="Doerfler, Lena" userId="aeb0559f-200d-4a58-9e6d-125e1b704bf8" providerId="ADAL" clId="{2F42D7B1-B962-445E-8485-41980C3AF6B0}" dt="2023-02-27T15:36:41.249" v="1902"/>
          <ac:spMkLst>
            <pc:docMk/>
            <pc:sldMk cId="1312478682" sldId="372"/>
            <ac:spMk id="226" creationId="{11F1807A-AF8E-60E1-82A1-A79E970CFAB9}"/>
          </ac:spMkLst>
        </pc:spChg>
        <pc:spChg chg="add del mod">
          <ac:chgData name="Doerfler, Lena" userId="aeb0559f-200d-4a58-9e6d-125e1b704bf8" providerId="ADAL" clId="{2F42D7B1-B962-445E-8485-41980C3AF6B0}" dt="2023-02-27T15:37:19.683" v="2539"/>
          <ac:spMkLst>
            <pc:docMk/>
            <pc:sldMk cId="1312478682" sldId="372"/>
            <ac:spMk id="227" creationId="{2ED19E4B-6527-2658-52DF-B39B3473DA94}"/>
          </ac:spMkLst>
        </pc:spChg>
        <pc:spChg chg="add mod">
          <ac:chgData name="Doerfler, Lena" userId="aeb0559f-200d-4a58-9e6d-125e1b704bf8" providerId="ADAL" clId="{2F42D7B1-B962-445E-8485-41980C3AF6B0}" dt="2023-02-27T15:37:40.632" v="2920" actId="790"/>
          <ac:spMkLst>
            <pc:docMk/>
            <pc:sldMk cId="1312478682" sldId="372"/>
            <ac:spMk id="228" creationId="{7C43F153-DCF0-7DFA-3C2A-17B7E50E306E}"/>
          </ac:spMkLst>
        </pc:spChg>
        <pc:spChg chg="add del mod">
          <ac:chgData name="Doerfler, Lena" userId="aeb0559f-200d-4a58-9e6d-125e1b704bf8" providerId="ADAL" clId="{2F42D7B1-B962-445E-8485-41980C3AF6B0}" dt="2023-02-27T15:37:41.332" v="3046"/>
          <ac:spMkLst>
            <pc:docMk/>
            <pc:sldMk cId="1312478682" sldId="372"/>
            <ac:spMk id="229" creationId="{EA56D18D-D37D-9DC0-6EAA-6DE4E2554B57}"/>
          </ac:spMkLst>
        </pc:spChg>
        <pc:spChg chg="add mod">
          <ac:chgData name="Doerfler, Lena" userId="aeb0559f-200d-4a58-9e6d-125e1b704bf8" providerId="ADAL" clId="{2F42D7B1-B962-445E-8485-41980C3AF6B0}" dt="2023-02-27T15:37:41.332" v="3047"/>
          <ac:spMkLst>
            <pc:docMk/>
            <pc:sldMk cId="1312478682" sldId="372"/>
            <ac:spMk id="230" creationId="{A939EBD3-D78F-2114-68DC-A8CB3839BE3F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237" creationId="{8AF1FDF9-2F2A-4B3B-A302-B68B83AEB080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240" creationId="{5142AF1A-EE13-4064-833D-EF3528900FE7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43" creationId="{C3C69E8E-2F60-4926-894E-B2DD6601CCB3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44" creationId="{4F010B41-4F83-45C8-9404-2106BE11C343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46" creationId="{18010B86-0AD9-4FF5-8EC9-FBFBE3D44A7C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47" creationId="{E6F1ECF8-BD0B-48CC-89C3-A5A5A449180D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82" creationId="{24038352-3F5C-4BE7-AF4A-11B2EE0B950C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284" creationId="{93C90D98-1DBB-4B24-BDFE-850CAFD9D338}"/>
          </ac:spMkLst>
        </pc:spChg>
        <pc:spChg chg="mod">
          <ac:chgData name="Doerfler, Lena" userId="aeb0559f-200d-4a58-9e6d-125e1b704bf8" providerId="ADAL" clId="{2F42D7B1-B962-445E-8485-41980C3AF6B0}" dt="2023-02-27T15:37:40.442" v="2821" actId="790"/>
          <ac:spMkLst>
            <pc:docMk/>
            <pc:sldMk cId="1312478682" sldId="372"/>
            <ac:spMk id="293" creationId="{CD744630-5B1A-4FB8-BA31-9B4A41568CBA}"/>
          </ac:spMkLst>
        </pc:spChg>
        <pc:spChg chg="mod">
          <ac:chgData name="Doerfler, Lena" userId="aeb0559f-200d-4a58-9e6d-125e1b704bf8" providerId="ADAL" clId="{2F42D7B1-B962-445E-8485-41980C3AF6B0}" dt="2023-02-27T15:37:40.449" v="2824" actId="790"/>
          <ac:spMkLst>
            <pc:docMk/>
            <pc:sldMk cId="1312478682" sldId="372"/>
            <ac:spMk id="294" creationId="{6868014B-DBB0-43C0-BFAB-9B81346E46BE}"/>
          </ac:spMkLst>
        </pc:spChg>
        <pc:spChg chg="mod">
          <ac:chgData name="Doerfler, Lena" userId="aeb0559f-200d-4a58-9e6d-125e1b704bf8" providerId="ADAL" clId="{2F42D7B1-B962-445E-8485-41980C3AF6B0}" dt="2023-02-27T15:37:40.488" v="2849" actId="790"/>
          <ac:spMkLst>
            <pc:docMk/>
            <pc:sldMk cId="1312478682" sldId="372"/>
            <ac:spMk id="296" creationId="{1324ED65-A006-4C86-AF12-6946FF3BBA6B}"/>
          </ac:spMkLst>
        </pc:spChg>
        <pc:spChg chg="mod">
          <ac:chgData name="Doerfler, Lena" userId="aeb0559f-200d-4a58-9e6d-125e1b704bf8" providerId="ADAL" clId="{2F42D7B1-B962-445E-8485-41980C3AF6B0}" dt="2023-02-27T15:37:40.488" v="2850" actId="790"/>
          <ac:spMkLst>
            <pc:docMk/>
            <pc:sldMk cId="1312478682" sldId="372"/>
            <ac:spMk id="297" creationId="{30FEE31D-E1C0-4DDE-965D-E62AF2162652}"/>
          </ac:spMkLst>
        </pc:spChg>
        <pc:spChg chg="mod">
          <ac:chgData name="Doerfler, Lena" userId="aeb0559f-200d-4a58-9e6d-125e1b704bf8" providerId="ADAL" clId="{2F42D7B1-B962-445E-8485-41980C3AF6B0}" dt="2023-02-27T15:37:40.488" v="2851" actId="790"/>
          <ac:spMkLst>
            <pc:docMk/>
            <pc:sldMk cId="1312478682" sldId="372"/>
            <ac:spMk id="298" creationId="{56130F54-1FF9-4F6D-A527-873D76C13993}"/>
          </ac:spMkLst>
        </pc:spChg>
        <pc:spChg chg="mod">
          <ac:chgData name="Doerfler, Lena" userId="aeb0559f-200d-4a58-9e6d-125e1b704bf8" providerId="ADAL" clId="{2F42D7B1-B962-445E-8485-41980C3AF6B0}" dt="2023-02-27T15:37:40.499" v="2852" actId="790"/>
          <ac:spMkLst>
            <pc:docMk/>
            <pc:sldMk cId="1312478682" sldId="372"/>
            <ac:spMk id="301" creationId="{E4F37B5F-7863-4CC2-971C-7E650FC50104}"/>
          </ac:spMkLst>
        </pc:spChg>
        <pc:spChg chg="mod">
          <ac:chgData name="Doerfler, Lena" userId="aeb0559f-200d-4a58-9e6d-125e1b704bf8" providerId="ADAL" clId="{2F42D7B1-B962-445E-8485-41980C3AF6B0}" dt="2023-02-27T15:54:31.431" v="3258" actId="14100"/>
          <ac:spMkLst>
            <pc:docMk/>
            <pc:sldMk cId="1312478682" sldId="372"/>
            <ac:spMk id="302" creationId="{37A773FA-B03A-4907-A85E-37F8141A8676}"/>
          </ac:spMkLst>
        </pc:spChg>
        <pc:spChg chg="mod">
          <ac:chgData name="Doerfler, Lena" userId="aeb0559f-200d-4a58-9e6d-125e1b704bf8" providerId="ADAL" clId="{2F42D7B1-B962-445E-8485-41980C3AF6B0}" dt="2023-02-27T15:37:40.449" v="2825" actId="790"/>
          <ac:spMkLst>
            <pc:docMk/>
            <pc:sldMk cId="1312478682" sldId="372"/>
            <ac:spMk id="303" creationId="{A0F3CA1A-02FF-405C-AC71-13FFAFD082EB}"/>
          </ac:spMkLst>
        </pc:spChg>
        <pc:spChg chg="mod">
          <ac:chgData name="Doerfler, Lena" userId="aeb0559f-200d-4a58-9e6d-125e1b704bf8" providerId="ADAL" clId="{2F42D7B1-B962-445E-8485-41980C3AF6B0}" dt="2023-02-27T15:37:40.449" v="2823" actId="790"/>
          <ac:spMkLst>
            <pc:docMk/>
            <pc:sldMk cId="1312478682" sldId="372"/>
            <ac:spMk id="304" creationId="{F79DE00C-5E55-4444-94F0-80DEA4F93EC4}"/>
          </ac:spMkLst>
        </pc:spChg>
        <pc:spChg chg="mod">
          <ac:chgData name="Doerfler, Lena" userId="aeb0559f-200d-4a58-9e6d-125e1b704bf8" providerId="ADAL" clId="{2F42D7B1-B962-445E-8485-41980C3AF6B0}" dt="2023-02-27T15:37:40.459" v="2826" actId="790"/>
          <ac:spMkLst>
            <pc:docMk/>
            <pc:sldMk cId="1312478682" sldId="372"/>
            <ac:spMk id="305" creationId="{CBAB6960-F7FD-4E98-952B-2CA4C630F740}"/>
          </ac:spMkLst>
        </pc:spChg>
        <pc:spChg chg="mod">
          <ac:chgData name="Doerfler, Lena" userId="aeb0559f-200d-4a58-9e6d-125e1b704bf8" providerId="ADAL" clId="{2F42D7B1-B962-445E-8485-41980C3AF6B0}" dt="2023-02-27T15:37:40.459" v="2827" actId="790"/>
          <ac:spMkLst>
            <pc:docMk/>
            <pc:sldMk cId="1312478682" sldId="372"/>
            <ac:spMk id="306" creationId="{0B7A96EA-7F4B-4495-9BB7-95879A35BDBE}"/>
          </ac:spMkLst>
        </pc:spChg>
        <pc:spChg chg="mod">
          <ac:chgData name="Doerfler, Lena" userId="aeb0559f-200d-4a58-9e6d-125e1b704bf8" providerId="ADAL" clId="{2F42D7B1-B962-445E-8485-41980C3AF6B0}" dt="2023-02-27T15:37:40.459" v="2828" actId="790"/>
          <ac:spMkLst>
            <pc:docMk/>
            <pc:sldMk cId="1312478682" sldId="372"/>
            <ac:spMk id="307" creationId="{7D5C1018-21D3-4842-8289-5EA468DC179D}"/>
          </ac:spMkLst>
        </pc:spChg>
        <pc:spChg chg="mod">
          <ac:chgData name="Doerfler, Lena" userId="aeb0559f-200d-4a58-9e6d-125e1b704bf8" providerId="ADAL" clId="{2F42D7B1-B962-445E-8485-41980C3AF6B0}" dt="2023-02-27T15:37:40.449" v="2822" actId="790"/>
          <ac:spMkLst>
            <pc:docMk/>
            <pc:sldMk cId="1312478682" sldId="372"/>
            <ac:spMk id="311" creationId="{8E1A8C92-8DC6-4808-9D08-70EFD1823ACF}"/>
          </ac:spMkLst>
        </pc:spChg>
        <pc:spChg chg="mod">
          <ac:chgData name="Doerfler, Lena" userId="aeb0559f-200d-4a58-9e6d-125e1b704bf8" providerId="ADAL" clId="{2F42D7B1-B962-445E-8485-41980C3AF6B0}" dt="2023-02-27T15:37:40.459" v="2829" actId="790"/>
          <ac:spMkLst>
            <pc:docMk/>
            <pc:sldMk cId="1312478682" sldId="372"/>
            <ac:spMk id="313" creationId="{A1D17592-7E14-4EB1-BE0D-D744B80B7FDA}"/>
          </ac:spMkLst>
        </pc:spChg>
        <pc:spChg chg="mod">
          <ac:chgData name="Doerfler, Lena" userId="aeb0559f-200d-4a58-9e6d-125e1b704bf8" providerId="ADAL" clId="{2F42D7B1-B962-445E-8485-41980C3AF6B0}" dt="2023-02-27T15:37:40.459" v="2830" actId="790"/>
          <ac:spMkLst>
            <pc:docMk/>
            <pc:sldMk cId="1312478682" sldId="372"/>
            <ac:spMk id="314" creationId="{55D9BD7A-6E24-4D0D-8F7F-9880267D8C89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15" creationId="{1CD860C9-931B-4389-8667-60FA60FF5A69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17" creationId="{053D43E3-971B-4635-A16E-129BA8B4E173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18" creationId="{8B091EA2-C67C-4F42-A7ED-DB12A6311E66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27" creationId="{43180ADD-B854-4002-88B4-D2796547C8C2}"/>
          </ac:spMkLst>
        </pc:spChg>
        <pc:spChg chg="mod">
          <ac:chgData name="Doerfler, Lena" userId="aeb0559f-200d-4a58-9e6d-125e1b704bf8" providerId="ADAL" clId="{2F42D7B1-B962-445E-8485-41980C3AF6B0}" dt="2023-02-27T15:37:40.488" v="2848" actId="790"/>
          <ac:spMkLst>
            <pc:docMk/>
            <pc:sldMk cId="1312478682" sldId="372"/>
            <ac:spMk id="328" creationId="{FC7736EA-9E53-4F26-84E6-00966BE87434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40" creationId="{D75C3FC1-6555-424C-BB12-A5B217393D73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41" creationId="{ABE23951-3DDD-4CAC-BB46-A4620EF9B441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345" creationId="{E1D3D30C-1E7F-4084-BF27-FAE0301491E9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346" creationId="{0FD249A0-CFA7-4F9E-B1A4-52EBE8C14136}"/>
          </ac:spMkLst>
        </pc:spChg>
        <pc:spChg chg="mod">
          <ac:chgData name="Doerfler, Lena" userId="aeb0559f-200d-4a58-9e6d-125e1b704bf8" providerId="ADAL" clId="{2F42D7B1-B962-445E-8485-41980C3AF6B0}" dt="2023-02-27T15:37:40.466" v="2831" actId="790"/>
          <ac:spMkLst>
            <pc:docMk/>
            <pc:sldMk cId="1312478682" sldId="372"/>
            <ac:spMk id="347" creationId="{0C6A146B-B42F-497C-BD54-FAB29D616942}"/>
          </ac:spMkLst>
        </pc:spChg>
        <pc:spChg chg="mod topLvl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52" creationId="{9D9FBBD0-35A0-4213-9F47-1E8322F3AB6E}"/>
          </ac:spMkLst>
        </pc:spChg>
        <pc:spChg chg="mod topLvl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356" creationId="{ABADF595-7F96-405F-9285-77097810D26F}"/>
          </ac:spMkLst>
        </pc:spChg>
        <pc:spChg chg="mod">
          <ac:chgData name="Doerfler, Lena" userId="aeb0559f-200d-4a58-9e6d-125e1b704bf8" providerId="ADAL" clId="{2F42D7B1-B962-445E-8485-41980C3AF6B0}" dt="2023-02-27T15:37:40.499" v="2854" actId="790"/>
          <ac:spMkLst>
            <pc:docMk/>
            <pc:sldMk cId="1312478682" sldId="372"/>
            <ac:spMk id="358" creationId="{92F883C8-FD9A-4777-844C-428224C35FD4}"/>
          </ac:spMkLst>
        </pc:spChg>
        <pc:spChg chg="mod">
          <ac:chgData name="Doerfler, Lena" userId="aeb0559f-200d-4a58-9e6d-125e1b704bf8" providerId="ADAL" clId="{2F42D7B1-B962-445E-8485-41980C3AF6B0}" dt="2023-02-27T15:37:40.509" v="2855" actId="790"/>
          <ac:spMkLst>
            <pc:docMk/>
            <pc:sldMk cId="1312478682" sldId="372"/>
            <ac:spMk id="359" creationId="{4297CCA8-28B5-428F-8A10-4EE013076E5D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62" creationId="{9813602F-01AA-4471-8E3C-71FC8C2A9FC0}"/>
          </ac:spMkLst>
        </pc:spChg>
        <pc:spChg chg="mod">
          <ac:chgData name="Doerfler, Lena" userId="aeb0559f-200d-4a58-9e6d-125e1b704bf8" providerId="ADAL" clId="{2F42D7B1-B962-445E-8485-41980C3AF6B0}" dt="2023-02-28T08:21:35.642" v="3895" actId="165"/>
          <ac:spMkLst>
            <pc:docMk/>
            <pc:sldMk cId="1312478682" sldId="372"/>
            <ac:spMk id="363" creationId="{A8E47F97-A8B9-4981-AAD1-7B9C66DE53F6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364" creationId="{1F121789-3A9A-4D9C-8EE2-0304E0D816AA}"/>
          </ac:spMkLst>
        </pc:spChg>
        <pc:spChg chg="mod">
          <ac:chgData name="Doerfler, Lena" userId="aeb0559f-200d-4a58-9e6d-125e1b704bf8" providerId="ADAL" clId="{2F42D7B1-B962-445E-8485-41980C3AF6B0}" dt="2023-02-27T15:52:27.876" v="3250" actId="165"/>
          <ac:spMkLst>
            <pc:docMk/>
            <pc:sldMk cId="1312478682" sldId="372"/>
            <ac:spMk id="365" creationId="{2E2286BC-467D-4FD3-BF3F-FDC5271E8EB4}"/>
          </ac:spMkLst>
        </pc:spChg>
        <pc:grpChg chg="mod topLvl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6" creationId="{A061951D-54AC-470A-9F52-8FF8D75BCB9F}"/>
          </ac:grpSpMkLst>
        </pc:grpChg>
        <pc:grpChg chg="add del mod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7" creationId="{AB850C72-A958-5CCD-1DFE-7A40F7117968}"/>
          </ac:grpSpMkLst>
        </pc:grpChg>
        <pc:grpChg chg="mod topLvl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8" creationId="{BB299EDB-8DB6-4888-A491-40EFA3F81CD3}"/>
          </ac:grpSpMkLst>
        </pc:grpChg>
        <pc:grpChg chg="mod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9" creationId="{A87B8EFD-600F-43FE-A06C-A2C350B216F9}"/>
          </ac:grpSpMkLst>
        </pc:grpChg>
        <pc:grpChg chg="mod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10" creationId="{D7732012-911B-467C-8BF9-53078B4C4BB5}"/>
          </ac:grpSpMkLst>
        </pc:grpChg>
        <pc:grpChg chg="mod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12" creationId="{3D70695A-3BD8-4BBB-B08F-FCA56F88AF15}"/>
          </ac:grpSpMkLst>
        </pc:grpChg>
        <pc:grpChg chg="mod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13" creationId="{2FEE66B6-CFD5-4874-B95F-C00B7D479B7C}"/>
          </ac:grpSpMkLst>
        </pc:grpChg>
        <pc:grpChg chg="mod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14" creationId="{9E90922C-6E4C-4F7D-BFE9-0001087B8267}"/>
          </ac:grpSpMkLst>
        </pc:grpChg>
        <pc:grpChg chg="mod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15" creationId="{8EB3E646-7E29-4245-B46D-4F7EA1E27F60}"/>
          </ac:grpSpMkLst>
        </pc:grpChg>
        <pc:grpChg chg="mod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16" creationId="{BF53D60A-D3D7-4EED-85E3-3A85C80A41C5}"/>
          </ac:grpSpMkLst>
        </pc:grpChg>
        <pc:grpChg chg="mod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17" creationId="{DD608ED5-9CD3-41D2-AFA5-F8503140C2CF}"/>
          </ac:grpSpMkLst>
        </pc:grpChg>
        <pc:grpChg chg="mod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19" creationId="{2765A726-5C50-490E-A993-A69ACE314803}"/>
          </ac:grpSpMkLst>
        </pc:grpChg>
        <pc:grpChg chg="mod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20" creationId="{5546467E-1AC4-47BB-A0C6-11BDF6DA808A}"/>
          </ac:grpSpMkLst>
        </pc:grpChg>
        <pc:grpChg chg="mod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21" creationId="{E5384C26-EA26-428F-B6D3-AC966C010BD1}"/>
          </ac:grpSpMkLst>
        </pc:grpChg>
        <pc:grpChg chg="mod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22" creationId="{A5F83C92-7210-4D7B-96EA-A9CA168DC5A7}"/>
          </ac:grpSpMkLst>
        </pc:grpChg>
        <pc:grpChg chg="mod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24" creationId="{76B815AD-3FA5-4F76-A5AC-F9E3FB508890}"/>
          </ac:grpSpMkLst>
        </pc:grpChg>
        <pc:grpChg chg="mod topLvl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25" creationId="{DD64AC72-F99B-43C6-8C74-494DDDB589C1}"/>
          </ac:grpSpMkLst>
        </pc:grpChg>
        <pc:grpChg chg="mod topLvl">
          <ac:chgData name="Doerfler, Lena" userId="aeb0559f-200d-4a58-9e6d-125e1b704bf8" providerId="ADAL" clId="{2F42D7B1-B962-445E-8485-41980C3AF6B0}" dt="2023-02-28T08:21:35.642" v="3895" actId="165"/>
          <ac:grpSpMkLst>
            <pc:docMk/>
            <pc:sldMk cId="1312478682" sldId="372"/>
            <ac:grpSpMk id="26" creationId="{41FBC24F-6272-492B-B5D8-D2C99E93E48E}"/>
          </ac:grpSpMkLst>
        </pc:grpChg>
        <pc:grpChg chg="del">
          <ac:chgData name="Doerfler, Lena" userId="aeb0559f-200d-4a58-9e6d-125e1b704bf8" providerId="ADAL" clId="{2F42D7B1-B962-445E-8485-41980C3AF6B0}" dt="2023-02-28T08:20:14.715" v="3885" actId="165"/>
          <ac:grpSpMkLst>
            <pc:docMk/>
            <pc:sldMk cId="1312478682" sldId="372"/>
            <ac:grpSpMk id="29" creationId="{25D016A8-E248-44A2-BF18-596DF5322A22}"/>
          </ac:grpSpMkLst>
        </pc:grpChg>
        <pc:grpChg chg="del">
          <ac:chgData name="Doerfler, Lena" userId="aeb0559f-200d-4a58-9e6d-125e1b704bf8" providerId="ADAL" clId="{2F42D7B1-B962-445E-8485-41980C3AF6B0}" dt="2023-02-27T15:52:27.876" v="3250" actId="165"/>
          <ac:grpSpMkLst>
            <pc:docMk/>
            <pc:sldMk cId="1312478682" sldId="372"/>
            <ac:grpSpMk id="30" creationId="{E17CEE10-4A78-4F88-9FFB-24A6587DDF5C}"/>
          </ac:grpSpMkLst>
        </pc:grpChg>
        <pc:graphicFrameChg chg="mod">
          <ac:chgData name="Doerfler, Lena" userId="aeb0559f-200d-4a58-9e6d-125e1b704bf8" providerId="ADAL" clId="{2F42D7B1-B962-445E-8485-41980C3AF6B0}" dt="2023-02-27T15:32:43.832" v="544"/>
          <ac:graphicFrameMkLst>
            <pc:docMk/>
            <pc:sldMk cId="1312478682" sldId="372"/>
            <ac:graphicFrameMk id="5" creationId="{7E5AB5D8-41B9-4758-9D71-2AEADF0C090E}"/>
          </ac:graphicFrameMkLst>
        </pc:graphicFrameChg>
        <pc:picChg chg="del mod topLvl">
          <ac:chgData name="Doerfler, Lena" userId="aeb0559f-200d-4a58-9e6d-125e1b704bf8" providerId="ADAL" clId="{2F42D7B1-B962-445E-8485-41980C3AF6B0}" dt="2023-02-27T15:52:31.433" v="3252" actId="478"/>
          <ac:picMkLst>
            <pc:docMk/>
            <pc:sldMk cId="1312478682" sldId="372"/>
            <ac:picMk id="7" creationId="{6FDE31E4-7F5C-4987-84CE-8B225289DD86}"/>
          </ac:picMkLst>
        </pc:picChg>
        <pc:picChg chg="add mod">
          <ac:chgData name="Doerfler, Lena" userId="aeb0559f-200d-4a58-9e6d-125e1b704bf8" providerId="ADAL" clId="{2F42D7B1-B962-445E-8485-41980C3AF6B0}" dt="2023-02-27T15:53:10.975" v="3257" actId="1076"/>
          <ac:picMkLst>
            <pc:docMk/>
            <pc:sldMk cId="1312478682" sldId="372"/>
            <ac:picMk id="31" creationId="{FCCB6AF6-E963-B472-1A11-8A05F58B2E49}"/>
          </ac:picMkLst>
        </pc:picChg>
        <pc:picChg chg="mod">
          <ac:chgData name="Doerfler, Lena" userId="aeb0559f-200d-4a58-9e6d-125e1b704bf8" providerId="ADAL" clId="{2F42D7B1-B962-445E-8485-41980C3AF6B0}" dt="2023-02-27T15:52:27.876" v="3250" actId="165"/>
          <ac:picMkLst>
            <pc:docMk/>
            <pc:sldMk cId="1312478682" sldId="372"/>
            <ac:picMk id="96" creationId="{F68B06E0-AA92-4AA8-AD72-0AE1453F5C08}"/>
          </ac:picMkLst>
        </pc:picChg>
        <pc:picChg chg="mod">
          <ac:chgData name="Doerfler, Lena" userId="aeb0559f-200d-4a58-9e6d-125e1b704bf8" providerId="ADAL" clId="{2F42D7B1-B962-445E-8485-41980C3AF6B0}" dt="2023-02-27T15:52:27.876" v="3250" actId="165"/>
          <ac:picMkLst>
            <pc:docMk/>
            <pc:sldMk cId="1312478682" sldId="372"/>
            <ac:picMk id="97" creationId="{D7D6232B-58DF-434C-8AA5-52D3D3732027}"/>
          </ac:picMkLst>
        </pc:picChg>
        <pc:picChg chg="mod">
          <ac:chgData name="Doerfler, Lena" userId="aeb0559f-200d-4a58-9e6d-125e1b704bf8" providerId="ADAL" clId="{2F42D7B1-B962-445E-8485-41980C3AF6B0}" dt="2023-02-27T15:52:27.876" v="3250" actId="165"/>
          <ac:picMkLst>
            <pc:docMk/>
            <pc:sldMk cId="1312478682" sldId="372"/>
            <ac:picMk id="98" creationId="{D66E16E7-9E7C-48E9-A6C5-7EECAF3D3087}"/>
          </ac:picMkLst>
        </pc:picChg>
        <pc:picChg chg="mod topLvl">
          <ac:chgData name="Doerfler, Lena" userId="aeb0559f-200d-4a58-9e6d-125e1b704bf8" providerId="ADAL" clId="{2F42D7B1-B962-445E-8485-41980C3AF6B0}" dt="2023-02-28T08:21:35.642" v="3895" actId="165"/>
          <ac:picMkLst>
            <pc:docMk/>
            <pc:sldMk cId="1312478682" sldId="372"/>
            <ac:picMk id="166" creationId="{7C5D2A46-ED47-4A0D-99BB-872537607DEF}"/>
          </ac:picMkLst>
        </pc:picChg>
        <pc:picChg chg="mod topLvl">
          <ac:chgData name="Doerfler, Lena" userId="aeb0559f-200d-4a58-9e6d-125e1b704bf8" providerId="ADAL" clId="{2F42D7B1-B962-445E-8485-41980C3AF6B0}" dt="2023-02-27T15:52:27.876" v="3250" actId="165"/>
          <ac:picMkLst>
            <pc:docMk/>
            <pc:sldMk cId="1312478682" sldId="372"/>
            <ac:picMk id="178" creationId="{0DE56B2B-2940-4EE3-BD57-9969C8FC7972}"/>
          </ac:picMkLst>
        </pc:picChg>
        <pc:picChg chg="mod">
          <ac:chgData name="Doerfler, Lena" userId="aeb0559f-200d-4a58-9e6d-125e1b704bf8" providerId="ADAL" clId="{2F42D7B1-B962-445E-8485-41980C3AF6B0}" dt="2023-02-28T08:21:35.642" v="3895" actId="165"/>
          <ac:picMkLst>
            <pc:docMk/>
            <pc:sldMk cId="1312478682" sldId="372"/>
            <ac:picMk id="190" creationId="{CE356AB5-AA4F-4C10-9EE2-A9051260BE6C}"/>
          </ac:picMkLst>
        </pc:picChg>
        <pc:picChg chg="mod">
          <ac:chgData name="Doerfler, Lena" userId="aeb0559f-200d-4a58-9e6d-125e1b704bf8" providerId="ADAL" clId="{2F42D7B1-B962-445E-8485-41980C3AF6B0}" dt="2023-02-28T08:21:35.642" v="3895" actId="165"/>
          <ac:picMkLst>
            <pc:docMk/>
            <pc:sldMk cId="1312478682" sldId="372"/>
            <ac:picMk id="191" creationId="{97109D76-CAA5-45B3-9F29-349AF37C43CF}"/>
          </ac:picMkLst>
        </pc:picChg>
        <pc:picChg chg="mod">
          <ac:chgData name="Doerfler, Lena" userId="aeb0559f-200d-4a58-9e6d-125e1b704bf8" providerId="ADAL" clId="{2F42D7B1-B962-445E-8485-41980C3AF6B0}" dt="2023-02-28T08:21:35.642" v="3895" actId="165"/>
          <ac:picMkLst>
            <pc:docMk/>
            <pc:sldMk cId="1312478682" sldId="372"/>
            <ac:picMk id="192" creationId="{35CA6CF7-10B1-4CD4-B066-A91B8E5B6412}"/>
          </ac:picMkLst>
        </pc:picChg>
        <pc:picChg chg="mod topLvl">
          <ac:chgData name="Doerfler, Lena" userId="aeb0559f-200d-4a58-9e6d-125e1b704bf8" providerId="ADAL" clId="{2F42D7B1-B962-445E-8485-41980C3AF6B0}" dt="2023-02-28T08:21:35.642" v="3895" actId="165"/>
          <ac:picMkLst>
            <pc:docMk/>
            <pc:sldMk cId="1312478682" sldId="372"/>
            <ac:picMk id="239" creationId="{0987408F-FB72-4452-A122-ED58F1636EF0}"/>
          </ac:picMkLst>
        </pc:picChg>
        <pc:picChg chg="mod topLvl">
          <ac:chgData name="Doerfler, Lena" userId="aeb0559f-200d-4a58-9e6d-125e1b704bf8" providerId="ADAL" clId="{2F42D7B1-B962-445E-8485-41980C3AF6B0}" dt="2023-02-27T15:52:27.876" v="3250" actId="165"/>
          <ac:picMkLst>
            <pc:docMk/>
            <pc:sldMk cId="1312478682" sldId="372"/>
            <ac:picMk id="241" creationId="{CD3EBA82-4642-4C06-B733-6A450B1E0727}"/>
          </ac:picMkLst>
        </pc:picChg>
        <pc:picChg chg="del mod topLvl">
          <ac:chgData name="Doerfler, Lena" userId="aeb0559f-200d-4a58-9e6d-125e1b704bf8" providerId="ADAL" clId="{2F42D7B1-B962-445E-8485-41980C3AF6B0}" dt="2023-02-27T15:52:30.226" v="3251" actId="478"/>
          <ac:picMkLst>
            <pc:docMk/>
            <pc:sldMk cId="1312478682" sldId="372"/>
            <ac:picMk id="7170" creationId="{84B6BB3E-5CB2-4B74-BC37-F7E279F379CF}"/>
          </ac:picMkLst>
        </pc:picChg>
        <pc:cxnChg chg="mod">
          <ac:chgData name="Doerfler, Lena" userId="aeb0559f-200d-4a58-9e6d-125e1b704bf8" providerId="ADAL" clId="{2F42D7B1-B962-445E-8485-41980C3AF6B0}" dt="2023-02-27T15:52:27.876" v="3250" actId="165"/>
          <ac:cxnSpMkLst>
            <pc:docMk/>
            <pc:sldMk cId="1312478682" sldId="372"/>
            <ac:cxnSpMk id="163" creationId="{B3D37E12-DFD3-4978-8F88-3AAB55D39885}"/>
          </ac:cxnSpMkLst>
        </pc:cxnChg>
        <pc:cxnChg chg="mod">
          <ac:chgData name="Doerfler, Lena" userId="aeb0559f-200d-4a58-9e6d-125e1b704bf8" providerId="ADAL" clId="{2F42D7B1-B962-445E-8485-41980C3AF6B0}" dt="2023-02-27T15:52:27.876" v="3250" actId="165"/>
          <ac:cxnSpMkLst>
            <pc:docMk/>
            <pc:sldMk cId="1312478682" sldId="372"/>
            <ac:cxnSpMk id="164" creationId="{92FD2726-1D06-42F7-BAC4-FCF997357957}"/>
          </ac:cxnSpMkLst>
        </pc:cxnChg>
        <pc:cxnChg chg="mod">
          <ac:chgData name="Doerfler, Lena" userId="aeb0559f-200d-4a58-9e6d-125e1b704bf8" providerId="ADAL" clId="{2F42D7B1-B962-445E-8485-41980C3AF6B0}" dt="2023-02-28T08:21:35.642" v="3895" actId="165"/>
          <ac:cxnSpMkLst>
            <pc:docMk/>
            <pc:sldMk cId="1312478682" sldId="372"/>
            <ac:cxnSpMk id="174" creationId="{8AA6DCF2-DE4C-48F6-8ABF-E9EB591AC6A1}"/>
          </ac:cxnSpMkLst>
        </pc:cxnChg>
        <pc:cxnChg chg="mod">
          <ac:chgData name="Doerfler, Lena" userId="aeb0559f-200d-4a58-9e6d-125e1b704bf8" providerId="ADAL" clId="{2F42D7B1-B962-445E-8485-41980C3AF6B0}" dt="2023-02-28T08:21:35.642" v="3895" actId="165"/>
          <ac:cxnSpMkLst>
            <pc:docMk/>
            <pc:sldMk cId="1312478682" sldId="372"/>
            <ac:cxnSpMk id="175" creationId="{7DF73D4D-9F75-4599-AE1E-00AAE9E6942B}"/>
          </ac:cxnSpMkLst>
        </pc:cxnChg>
      </pc:sldChg>
      <pc:sldChg chg="addSp delSp modSp del mod modNotes">
        <pc:chgData name="Doerfler, Lena" userId="aeb0559f-200d-4a58-9e6d-125e1b704bf8" providerId="ADAL" clId="{2F42D7B1-B962-445E-8485-41980C3AF6B0}" dt="2023-03-01T14:15:16.283" v="6897" actId="2696"/>
        <pc:sldMkLst>
          <pc:docMk/>
          <pc:sldMk cId="2412132535" sldId="375"/>
        </pc:sldMkLst>
        <pc:spChg chg="mod">
          <ac:chgData name="Doerfler, Lena" userId="aeb0559f-200d-4a58-9e6d-125e1b704bf8" providerId="ADAL" clId="{2F42D7B1-B962-445E-8485-41980C3AF6B0}" dt="2023-02-27T15:37:40.649" v="2928" actId="790"/>
          <ac:spMkLst>
            <pc:docMk/>
            <pc:sldMk cId="2412132535" sldId="375"/>
            <ac:spMk id="2" creationId="{AF4BD223-E750-423D-AD55-8ED9F00CEAB5}"/>
          </ac:spMkLst>
        </pc:spChg>
        <pc:spChg chg="add mod">
          <ac:chgData name="Doerfler, Lena" userId="aeb0559f-200d-4a58-9e6d-125e1b704bf8" providerId="ADAL" clId="{2F42D7B1-B962-445E-8485-41980C3AF6B0}" dt="2023-02-27T15:37:40.659" v="2930" actId="790"/>
          <ac:spMkLst>
            <pc:docMk/>
            <pc:sldMk cId="2412132535" sldId="375"/>
            <ac:spMk id="3" creationId="{625DD61B-F0DA-2703-9388-AF47EA64ED36}"/>
          </ac:spMkLst>
        </pc:spChg>
        <pc:spChg chg="mod">
          <ac:chgData name="Doerfler, Lena" userId="aeb0559f-200d-4a58-9e6d-125e1b704bf8" providerId="ADAL" clId="{2F42D7B1-B962-445E-8485-41980C3AF6B0}" dt="2023-02-27T15:37:40.649" v="2929" actId="790"/>
          <ac:spMkLst>
            <pc:docMk/>
            <pc:sldMk cId="2412132535" sldId="375"/>
            <ac:spMk id="4" creationId="{49A039CA-FE9F-46EB-A697-AB22439FB7B9}"/>
          </ac:spMkLst>
        </pc:spChg>
        <pc:spChg chg="add del mod">
          <ac:chgData name="Doerfler, Lena" userId="aeb0559f-200d-4a58-9e6d-125e1b704bf8" providerId="ADAL" clId="{2F42D7B1-B962-445E-8485-41980C3AF6B0}" dt="2023-02-27T15:36:41.269" v="1910"/>
          <ac:spMkLst>
            <pc:docMk/>
            <pc:sldMk cId="2412132535" sldId="375"/>
            <ac:spMk id="5" creationId="{18FC7BF5-289E-6453-AE0D-21272413D70C}"/>
          </ac:spMkLst>
        </pc:spChg>
        <pc:spChg chg="add del mod">
          <ac:chgData name="Doerfler, Lena" userId="aeb0559f-200d-4a58-9e6d-125e1b704bf8" providerId="ADAL" clId="{2F42D7B1-B962-445E-8485-41980C3AF6B0}" dt="2023-02-27T15:37:19.693" v="2544"/>
          <ac:spMkLst>
            <pc:docMk/>
            <pc:sldMk cId="2412132535" sldId="375"/>
            <ac:spMk id="7" creationId="{812681AC-0A71-2B56-56C6-60A12BF5A756}"/>
          </ac:spMkLst>
        </pc:spChg>
        <pc:spChg chg="add mod">
          <ac:chgData name="Doerfler, Lena" userId="aeb0559f-200d-4a58-9e6d-125e1b704bf8" providerId="ADAL" clId="{2F42D7B1-B962-445E-8485-41980C3AF6B0}" dt="2023-02-27T15:37:40.659" v="2931" actId="790"/>
          <ac:spMkLst>
            <pc:docMk/>
            <pc:sldMk cId="2412132535" sldId="375"/>
            <ac:spMk id="8" creationId="{FF648D77-619C-69F1-3A1C-477DF1C22DBC}"/>
          </ac:spMkLst>
        </pc:spChg>
        <pc:spChg chg="add del mod">
          <ac:chgData name="Doerfler, Lena" userId="aeb0559f-200d-4a58-9e6d-125e1b704bf8" providerId="ADAL" clId="{2F42D7B1-B962-445E-8485-41980C3AF6B0}" dt="2023-02-27T15:37:41.342" v="3051"/>
          <ac:spMkLst>
            <pc:docMk/>
            <pc:sldMk cId="2412132535" sldId="375"/>
            <ac:spMk id="9" creationId="{F79B9BEB-99CB-7863-788F-30D886EAC7FA}"/>
          </ac:spMkLst>
        </pc:spChg>
        <pc:spChg chg="add mod">
          <ac:chgData name="Doerfler, Lena" userId="aeb0559f-200d-4a58-9e6d-125e1b704bf8" providerId="ADAL" clId="{2F42D7B1-B962-445E-8485-41980C3AF6B0}" dt="2023-02-27T15:37:41.342" v="3052"/>
          <ac:spMkLst>
            <pc:docMk/>
            <pc:sldMk cId="2412132535" sldId="375"/>
            <ac:spMk id="10" creationId="{3E0F9AB5-6D7A-CCD1-3B8E-40438BCB9AAF}"/>
          </ac:spMkLst>
        </pc:spChg>
      </pc:sldChg>
      <pc:sldChg chg="addSp delSp modSp del mod modNotes">
        <pc:chgData name="Doerfler, Lena" userId="aeb0559f-200d-4a58-9e6d-125e1b704bf8" providerId="ADAL" clId="{2F42D7B1-B962-445E-8485-41980C3AF6B0}" dt="2023-02-27T15:37:57.516" v="3057" actId="47"/>
        <pc:sldMkLst>
          <pc:docMk/>
          <pc:sldMk cId="247296226" sldId="376"/>
        </pc:sldMkLst>
        <pc:spChg chg="mod">
          <ac:chgData name="Doerfler, Lena" userId="aeb0559f-200d-4a58-9e6d-125e1b704bf8" providerId="ADAL" clId="{2F42D7B1-B962-445E-8485-41980C3AF6B0}" dt="2023-02-27T15:37:40.187" v="2693" actId="790"/>
          <ac:spMkLst>
            <pc:docMk/>
            <pc:sldMk cId="247296226" sldId="376"/>
            <ac:spMk id="2" creationId="{572087D5-AAD9-B467-4811-C0081C589448}"/>
          </ac:spMkLst>
        </pc:spChg>
        <pc:spChg chg="mod">
          <ac:chgData name="Doerfler, Lena" userId="aeb0559f-200d-4a58-9e6d-125e1b704bf8" providerId="ADAL" clId="{2F42D7B1-B962-445E-8485-41980C3AF6B0}" dt="2023-02-27T15:37:40.197" v="2694" actId="790"/>
          <ac:spMkLst>
            <pc:docMk/>
            <pc:sldMk cId="247296226" sldId="376"/>
            <ac:spMk id="3" creationId="{0E1C118D-1304-AB0D-840F-19991776DD74}"/>
          </ac:spMkLst>
        </pc:spChg>
        <pc:spChg chg="del mod">
          <ac:chgData name="Doerfler, Lena" userId="aeb0559f-200d-4a58-9e6d-125e1b704bf8" providerId="ADAL" clId="{2F42D7B1-B962-445E-8485-41980C3AF6B0}" dt="2023-02-27T15:36:41.169" v="1865"/>
          <ac:spMkLst>
            <pc:docMk/>
            <pc:sldMk cId="247296226" sldId="376"/>
            <ac:spMk id="4" creationId="{81E235B4-7E03-747C-6294-4EA27B672876}"/>
          </ac:spMkLst>
        </pc:spChg>
        <pc:spChg chg="mod">
          <ac:chgData name="Doerfler, Lena" userId="aeb0559f-200d-4a58-9e6d-125e1b704bf8" providerId="ADAL" clId="{2F42D7B1-B962-445E-8485-41980C3AF6B0}" dt="2023-02-27T15:37:40.199" v="2695" actId="790"/>
          <ac:spMkLst>
            <pc:docMk/>
            <pc:sldMk cId="247296226" sldId="376"/>
            <ac:spMk id="5" creationId="{039D0281-A9D2-6D5B-5E92-A1130BE54183}"/>
          </ac:spMkLst>
        </pc:spChg>
        <pc:spChg chg="mod">
          <ac:chgData name="Doerfler, Lena" userId="aeb0559f-200d-4a58-9e6d-125e1b704bf8" providerId="ADAL" clId="{2F42D7B1-B962-445E-8485-41980C3AF6B0}" dt="2023-02-27T15:37:40.199" v="2696" actId="790"/>
          <ac:spMkLst>
            <pc:docMk/>
            <pc:sldMk cId="247296226" sldId="376"/>
            <ac:spMk id="6" creationId="{5E909633-AF6F-5E85-7C5F-87C744399606}"/>
          </ac:spMkLst>
        </pc:spChg>
        <pc:spChg chg="add del mod">
          <ac:chgData name="Doerfler, Lena" userId="aeb0559f-200d-4a58-9e6d-125e1b704bf8" providerId="ADAL" clId="{2F42D7B1-B962-445E-8485-41980C3AF6B0}" dt="2023-02-27T15:37:19.626" v="2504"/>
          <ac:spMkLst>
            <pc:docMk/>
            <pc:sldMk cId="247296226" sldId="376"/>
            <ac:spMk id="7" creationId="{46A3B3CD-D02D-57CB-D7F7-A176047E666B}"/>
          </ac:spMkLst>
        </pc:spChg>
        <pc:spChg chg="add del mod">
          <ac:chgData name="Doerfler, Lena" userId="aeb0559f-200d-4a58-9e6d-125e1b704bf8" providerId="ADAL" clId="{2F42D7B1-B962-445E-8485-41980C3AF6B0}" dt="2023-02-27T15:37:41.243" v="3011"/>
          <ac:spMkLst>
            <pc:docMk/>
            <pc:sldMk cId="247296226" sldId="376"/>
            <ac:spMk id="8" creationId="{AAEDBF43-3106-6695-0CE4-A18F1E4D5585}"/>
          </ac:spMkLst>
        </pc:spChg>
        <pc:spChg chg="add mod">
          <ac:chgData name="Doerfler, Lena" userId="aeb0559f-200d-4a58-9e6d-125e1b704bf8" providerId="ADAL" clId="{2F42D7B1-B962-445E-8485-41980C3AF6B0}" dt="2023-02-27T15:37:41.243" v="3012"/>
          <ac:spMkLst>
            <pc:docMk/>
            <pc:sldMk cId="247296226" sldId="376"/>
            <ac:spMk id="9" creationId="{0701375C-980A-BEAB-24DC-8352FF3C3BEB}"/>
          </ac:spMkLst>
        </pc:spChg>
      </pc:sldChg>
      <pc:sldChg chg="del">
        <pc:chgData name="Doerfler, Lena" userId="aeb0559f-200d-4a58-9e6d-125e1b704bf8" providerId="ADAL" clId="{2F42D7B1-B962-445E-8485-41980C3AF6B0}" dt="2023-02-28T12:19:40.310" v="4430" actId="47"/>
        <pc:sldMkLst>
          <pc:docMk/>
          <pc:sldMk cId="1442369536" sldId="5378"/>
        </pc:sldMkLst>
      </pc:sldChg>
      <pc:sldChg chg="addSp delSp modSp del mod chgLayout modNotes">
        <pc:chgData name="Doerfler, Lena" userId="aeb0559f-200d-4a58-9e6d-125e1b704bf8" providerId="ADAL" clId="{2F42D7B1-B962-445E-8485-41980C3AF6B0}" dt="2023-03-01T14:15:16.106" v="6892" actId="2696"/>
        <pc:sldMkLst>
          <pc:docMk/>
          <pc:sldMk cId="2643739174" sldId="5384"/>
        </pc:sldMkLst>
        <pc:spChg chg="add del mod">
          <ac:chgData name="Doerfler, Lena" userId="aeb0559f-200d-4a58-9e6d-125e1b704bf8" providerId="ADAL" clId="{2F42D7B1-B962-445E-8485-41980C3AF6B0}" dt="2023-02-27T15:37:19.649" v="2519"/>
          <ac:spMkLst>
            <pc:docMk/>
            <pc:sldMk cId="2643739174" sldId="5384"/>
            <ac:spMk id="2" creationId="{E0DE63F7-DF91-9C8F-44B1-4E52D8C2B6AF}"/>
          </ac:spMkLst>
        </pc:spChg>
        <pc:spChg chg="del mod">
          <ac:chgData name="Doerfler, Lena" userId="aeb0559f-200d-4a58-9e6d-125e1b704bf8" providerId="ADAL" clId="{2F42D7B1-B962-445E-8485-41980C3AF6B0}" dt="2023-02-27T15:36:41.199" v="1880"/>
          <ac:spMkLst>
            <pc:docMk/>
            <pc:sldMk cId="2643739174" sldId="5384"/>
            <ac:spMk id="3" creationId="{7E2F4899-FD78-4FDE-9B95-22714E6E6F2F}"/>
          </ac:spMkLst>
        </pc:spChg>
        <pc:spChg chg="add del mod">
          <ac:chgData name="Doerfler, Lena" userId="aeb0559f-200d-4a58-9e6d-125e1b704bf8" providerId="ADAL" clId="{2F42D7B1-B962-445E-8485-41980C3AF6B0}" dt="2023-02-27T15:37:41.278" v="3026"/>
          <ac:spMkLst>
            <pc:docMk/>
            <pc:sldMk cId="2643739174" sldId="5384"/>
            <ac:spMk id="4" creationId="{D73468E5-0857-2CB1-4E6F-E40BA502F9DE}"/>
          </ac:spMkLst>
        </pc:spChg>
        <pc:spChg chg="add mod ord">
          <ac:chgData name="Doerfler, Lena" userId="aeb0559f-200d-4a58-9e6d-125e1b704bf8" providerId="ADAL" clId="{2F42D7B1-B962-445E-8485-41980C3AF6B0}" dt="2023-02-27T15:38:20.207" v="3062"/>
          <ac:spMkLst>
            <pc:docMk/>
            <pc:sldMk cId="2643739174" sldId="5384"/>
            <ac:spMk id="5" creationId="{A9FEB8FA-D822-7646-57C9-EA7D5CCF15C3}"/>
          </ac:spMkLst>
        </pc:spChg>
        <pc:spChg chg="add del mod ord">
          <ac:chgData name="Doerfler, Lena" userId="aeb0559f-200d-4a58-9e6d-125e1b704bf8" providerId="ADAL" clId="{2F42D7B1-B962-445E-8485-41980C3AF6B0}" dt="2023-02-27T15:38:22.733" v="3063" actId="478"/>
          <ac:spMkLst>
            <pc:docMk/>
            <pc:sldMk cId="2643739174" sldId="5384"/>
            <ac:spMk id="7" creationId="{EB57E44A-C58F-0E35-A9FA-4B010CA405D0}"/>
          </ac:spMkLst>
        </pc:spChg>
        <pc:spChg chg="add mod ord">
          <ac:chgData name="Doerfler, Lena" userId="aeb0559f-200d-4a58-9e6d-125e1b704bf8" providerId="ADAL" clId="{2F42D7B1-B962-445E-8485-41980C3AF6B0}" dt="2023-02-28T09:29:55.739" v="4268" actId="20577"/>
          <ac:spMkLst>
            <pc:docMk/>
            <pc:sldMk cId="2643739174" sldId="5384"/>
            <ac:spMk id="9" creationId="{1E2875BD-FC55-1286-5D68-61C88B45FFF6}"/>
          </ac:spMkLst>
        </pc:spChg>
        <pc:spChg chg="mod ord">
          <ac:chgData name="Doerfler, Lena" userId="aeb0559f-200d-4a58-9e6d-125e1b704bf8" providerId="ADAL" clId="{2F42D7B1-B962-445E-8485-41980C3AF6B0}" dt="2023-02-27T15:38:20.207" v="3062"/>
          <ac:spMkLst>
            <pc:docMk/>
            <pc:sldMk cId="2643739174" sldId="5384"/>
            <ac:spMk id="16" creationId="{D83076B2-99C8-49A0-8F39-42B899B48F92}"/>
          </ac:spMkLst>
        </pc:spChg>
        <pc:spChg chg="mod ord">
          <ac:chgData name="Doerfler, Lena" userId="aeb0559f-200d-4a58-9e6d-125e1b704bf8" providerId="ADAL" clId="{2F42D7B1-B962-445E-8485-41980C3AF6B0}" dt="2023-02-27T15:38:20.207" v="3062"/>
          <ac:spMkLst>
            <pc:docMk/>
            <pc:sldMk cId="2643739174" sldId="5384"/>
            <ac:spMk id="24" creationId="{1980FE84-70D1-4515-A550-38856F2A97E8}"/>
          </ac:spMkLst>
        </pc:spChg>
        <pc:spChg chg="mod ord">
          <ac:chgData name="Doerfler, Lena" userId="aeb0559f-200d-4a58-9e6d-125e1b704bf8" providerId="ADAL" clId="{2F42D7B1-B962-445E-8485-41980C3AF6B0}" dt="2023-02-27T15:38:20.207" v="3062"/>
          <ac:spMkLst>
            <pc:docMk/>
            <pc:sldMk cId="2643739174" sldId="5384"/>
            <ac:spMk id="29" creationId="{BA62EF2F-02F2-4132-AC10-0362D98F6B6B}"/>
          </ac:spMkLst>
        </pc:spChg>
        <pc:spChg chg="mod">
          <ac:chgData name="Doerfler, Lena" userId="aeb0559f-200d-4a58-9e6d-125e1b704bf8" providerId="ADAL" clId="{2F42D7B1-B962-445E-8485-41980C3AF6B0}" dt="2023-02-27T15:37:40.326" v="2760" actId="790"/>
          <ac:spMkLst>
            <pc:docMk/>
            <pc:sldMk cId="2643739174" sldId="5384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2-27T15:37:40.316" v="2755" actId="790"/>
          <ac:spMkLst>
            <pc:docMk/>
            <pc:sldMk cId="2643739174" sldId="5384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2-27T15:37:40.326" v="2756" actId="790"/>
          <ac:spMkLst>
            <pc:docMk/>
            <pc:sldMk cId="2643739174" sldId="5384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2-27T15:37:40.326" v="2757" actId="790"/>
          <ac:spMkLst>
            <pc:docMk/>
            <pc:sldMk cId="2643739174" sldId="5384"/>
            <ac:spMk id="48" creationId="{824CA2A5-3CDE-4BFB-BE42-7943336893D4}"/>
          </ac:spMkLst>
        </pc:spChg>
        <pc:spChg chg="mod">
          <ac:chgData name="Doerfler, Lena" userId="aeb0559f-200d-4a58-9e6d-125e1b704bf8" providerId="ADAL" clId="{2F42D7B1-B962-445E-8485-41980C3AF6B0}" dt="2023-02-27T15:37:40.333" v="2761" actId="790"/>
          <ac:spMkLst>
            <pc:docMk/>
            <pc:sldMk cId="2643739174" sldId="5384"/>
            <ac:spMk id="49" creationId="{DCDE3585-53B9-400F-A6E6-6D3051B8FE3E}"/>
          </ac:spMkLst>
        </pc:spChg>
        <pc:spChg chg="mod">
          <ac:chgData name="Doerfler, Lena" userId="aeb0559f-200d-4a58-9e6d-125e1b704bf8" providerId="ADAL" clId="{2F42D7B1-B962-445E-8485-41980C3AF6B0}" dt="2023-02-27T15:37:40.326" v="2758" actId="790"/>
          <ac:spMkLst>
            <pc:docMk/>
            <pc:sldMk cId="2643739174" sldId="5384"/>
            <ac:spMk id="50" creationId="{77D819D9-9ACA-43B9-9E35-63FEDEDBD01D}"/>
          </ac:spMkLst>
        </pc:spChg>
        <pc:spChg chg="del">
          <ac:chgData name="Doerfler, Lena" userId="aeb0559f-200d-4a58-9e6d-125e1b704bf8" providerId="ADAL" clId="{2F42D7B1-B962-445E-8485-41980C3AF6B0}" dt="2023-02-27T15:31:00.673" v="117" actId="478"/>
          <ac:spMkLst>
            <pc:docMk/>
            <pc:sldMk cId="2643739174" sldId="5384"/>
            <ac:spMk id="52" creationId="{51AF0FC1-664A-4D6B-AB55-4A6B79A28B8D}"/>
          </ac:spMkLst>
        </pc:spChg>
        <pc:spChg chg="del">
          <ac:chgData name="Doerfler, Lena" userId="aeb0559f-200d-4a58-9e6d-125e1b704bf8" providerId="ADAL" clId="{2F42D7B1-B962-445E-8485-41980C3AF6B0}" dt="2023-02-27T15:31:00.673" v="117" actId="478"/>
          <ac:spMkLst>
            <pc:docMk/>
            <pc:sldMk cId="2643739174" sldId="5384"/>
            <ac:spMk id="53" creationId="{E84F1484-ADCE-4551-88CB-CA141074ED40}"/>
          </ac:spMkLst>
        </pc:spChg>
        <pc:spChg chg="mod">
          <ac:chgData name="Doerfler, Lena" userId="aeb0559f-200d-4a58-9e6d-125e1b704bf8" providerId="ADAL" clId="{2F42D7B1-B962-445E-8485-41980C3AF6B0}" dt="2023-02-27T15:37:40.333" v="2762" actId="790"/>
          <ac:spMkLst>
            <pc:docMk/>
            <pc:sldMk cId="2643739174" sldId="5384"/>
            <ac:spMk id="72" creationId="{0BF01852-F4AA-4E4E-82E2-F189C8308B6E}"/>
          </ac:spMkLst>
        </pc:spChg>
        <pc:spChg chg="mod">
          <ac:chgData name="Doerfler, Lena" userId="aeb0559f-200d-4a58-9e6d-125e1b704bf8" providerId="ADAL" clId="{2F42D7B1-B962-445E-8485-41980C3AF6B0}" dt="2023-02-27T15:37:40.326" v="2759" actId="790"/>
          <ac:spMkLst>
            <pc:docMk/>
            <pc:sldMk cId="2643739174" sldId="5384"/>
            <ac:spMk id="75" creationId="{86E4ABC5-D012-4113-86CA-45BAE3E7E9AA}"/>
          </ac:spMkLst>
        </pc:spChg>
        <pc:spChg chg="del">
          <ac:chgData name="Doerfler, Lena" userId="aeb0559f-200d-4a58-9e6d-125e1b704bf8" providerId="ADAL" clId="{2F42D7B1-B962-445E-8485-41980C3AF6B0}" dt="2023-02-27T15:31:00.673" v="117" actId="478"/>
          <ac:spMkLst>
            <pc:docMk/>
            <pc:sldMk cId="2643739174" sldId="5384"/>
            <ac:spMk id="89" creationId="{2D96F1B3-013E-F5C7-67CB-D5AF7D89CBAA}"/>
          </ac:spMkLst>
        </pc:spChg>
        <pc:spChg chg="mod">
          <ac:chgData name="Doerfler, Lena" userId="aeb0559f-200d-4a58-9e6d-125e1b704bf8" providerId="ADAL" clId="{2F42D7B1-B962-445E-8485-41980C3AF6B0}" dt="2023-02-27T15:37:40.309" v="2751" actId="790"/>
          <ac:spMkLst>
            <pc:docMk/>
            <pc:sldMk cId="2643739174" sldId="5384"/>
            <ac:spMk id="93" creationId="{4B8B34FB-BE0A-41CC-9ED7-8A4D955358B2}"/>
          </ac:spMkLst>
        </pc:spChg>
        <pc:spChg chg="mod">
          <ac:chgData name="Doerfler, Lena" userId="aeb0559f-200d-4a58-9e6d-125e1b704bf8" providerId="ADAL" clId="{2F42D7B1-B962-445E-8485-41980C3AF6B0}" dt="2023-02-27T15:37:40.309" v="2752" actId="790"/>
          <ac:spMkLst>
            <pc:docMk/>
            <pc:sldMk cId="2643739174" sldId="5384"/>
            <ac:spMk id="95" creationId="{0F684D99-F0A9-4CD5-BFF8-58063E153CF8}"/>
          </ac:spMkLst>
        </pc:spChg>
        <pc:spChg chg="mod">
          <ac:chgData name="Doerfler, Lena" userId="aeb0559f-200d-4a58-9e6d-125e1b704bf8" providerId="ADAL" clId="{2F42D7B1-B962-445E-8485-41980C3AF6B0}" dt="2023-02-27T15:37:40.309" v="2753" actId="790"/>
          <ac:spMkLst>
            <pc:docMk/>
            <pc:sldMk cId="2643739174" sldId="5384"/>
            <ac:spMk id="101" creationId="{7A5202D9-447D-496D-9515-1DECDFE8A56B}"/>
          </ac:spMkLst>
        </pc:spChg>
        <pc:spChg chg="mod">
          <ac:chgData name="Doerfler, Lena" userId="aeb0559f-200d-4a58-9e6d-125e1b704bf8" providerId="ADAL" clId="{2F42D7B1-B962-445E-8485-41980C3AF6B0}" dt="2023-02-27T15:37:40.316" v="2754" actId="790"/>
          <ac:spMkLst>
            <pc:docMk/>
            <pc:sldMk cId="2643739174" sldId="5384"/>
            <ac:spMk id="102" creationId="{81D11542-C8C9-438B-93D2-CFD2AB6D4FDF}"/>
          </ac:spMkLst>
        </pc:spChg>
        <pc:grpChg chg="del">
          <ac:chgData name="Doerfler, Lena" userId="aeb0559f-200d-4a58-9e6d-125e1b704bf8" providerId="ADAL" clId="{2F42D7B1-B962-445E-8485-41980C3AF6B0}" dt="2023-02-27T15:31:00.673" v="117" actId="478"/>
          <ac:grpSpMkLst>
            <pc:docMk/>
            <pc:sldMk cId="2643739174" sldId="5384"/>
            <ac:grpSpMk id="8" creationId="{F5F89834-C6DD-460D-9F12-D66F74B1F6D0}"/>
          </ac:grpSpMkLst>
        </pc:grpChg>
        <pc:picChg chg="del">
          <ac:chgData name="Doerfler, Lena" userId="aeb0559f-200d-4a58-9e6d-125e1b704bf8" providerId="ADAL" clId="{2F42D7B1-B962-445E-8485-41980C3AF6B0}" dt="2023-02-27T15:31:00.673" v="117" actId="478"/>
          <ac:picMkLst>
            <pc:docMk/>
            <pc:sldMk cId="2643739174" sldId="5384"/>
            <ac:picMk id="83" creationId="{CEE82639-D8FA-358E-E8D1-9EF1BE515363}"/>
          </ac:picMkLst>
        </pc:picChg>
        <pc:picChg chg="del">
          <ac:chgData name="Doerfler, Lena" userId="aeb0559f-200d-4a58-9e6d-125e1b704bf8" providerId="ADAL" clId="{2F42D7B1-B962-445E-8485-41980C3AF6B0}" dt="2023-02-27T15:31:00.673" v="117" actId="478"/>
          <ac:picMkLst>
            <pc:docMk/>
            <pc:sldMk cId="2643739174" sldId="5384"/>
            <ac:picMk id="87" creationId="{2B587286-274F-C712-FF0F-73616F1E2C0E}"/>
          </ac:picMkLst>
        </pc:picChg>
      </pc:sldChg>
      <pc:sldChg chg="addSp delSp modSp del mod ord modTransition modClrScheme modShow chgLayout modNotes">
        <pc:chgData name="Doerfler, Lena" userId="aeb0559f-200d-4a58-9e6d-125e1b704bf8" providerId="ADAL" clId="{2F42D7B1-B962-445E-8485-41980C3AF6B0}" dt="2023-03-01T14:15:16.304" v="6899" actId="2696"/>
        <pc:sldMkLst>
          <pc:docMk/>
          <pc:sldMk cId="2944023916" sldId="5386"/>
        </pc:sldMkLst>
        <pc:spChg chg="mod ord">
          <ac:chgData name="Doerfler, Lena" userId="aeb0559f-200d-4a58-9e6d-125e1b704bf8" providerId="ADAL" clId="{2F42D7B1-B962-445E-8485-41980C3AF6B0}" dt="2023-02-27T15:37:40.133" v="2663" actId="790"/>
          <ac:spMkLst>
            <pc:docMk/>
            <pc:sldMk cId="2944023916" sldId="5386"/>
            <ac:spMk id="2" creationId="{EC564122-7C24-4E05-A89C-FF1EB561C91C}"/>
          </ac:spMkLst>
        </pc:spChg>
        <pc:spChg chg="add del mod modVis">
          <ac:chgData name="Doerfler, Lena" userId="aeb0559f-200d-4a58-9e6d-125e1b704bf8" providerId="ADAL" clId="{2F42D7B1-B962-445E-8485-41980C3AF6B0}" dt="2023-02-27T15:34:29.956" v="627"/>
          <ac:spMkLst>
            <pc:docMk/>
            <pc:sldMk cId="2944023916" sldId="5386"/>
            <ac:spMk id="3" creationId="{92ECA661-BFDE-5A9E-ACA1-1BE7CE03ABAC}"/>
          </ac:spMkLst>
        </pc:spChg>
        <pc:spChg chg="del mod ord">
          <ac:chgData name="Doerfler, Lena" userId="aeb0559f-200d-4a58-9e6d-125e1b704bf8" providerId="ADAL" clId="{2F42D7B1-B962-445E-8485-41980C3AF6B0}" dt="2023-02-27T15:36:41.149" v="1855"/>
          <ac:spMkLst>
            <pc:docMk/>
            <pc:sldMk cId="2944023916" sldId="5386"/>
            <ac:spMk id="4" creationId="{881BAD65-46EF-8983-FDE5-74F4FFDA7414}"/>
          </ac:spMkLst>
        </pc:spChg>
        <pc:spChg chg="mod ord">
          <ac:chgData name="Doerfler, Lena" userId="aeb0559f-200d-4a58-9e6d-125e1b704bf8" providerId="ADAL" clId="{2F42D7B1-B962-445E-8485-41980C3AF6B0}" dt="2023-02-27T15:37:40.143" v="2665" actId="790"/>
          <ac:spMkLst>
            <pc:docMk/>
            <pc:sldMk cId="2944023916" sldId="5386"/>
            <ac:spMk id="5" creationId="{D6A7FEEB-CD02-496D-AA28-40C72F5D378B}"/>
          </ac:spMkLst>
        </pc:spChg>
        <pc:spChg chg="mod ord">
          <ac:chgData name="Doerfler, Lena" userId="aeb0559f-200d-4a58-9e6d-125e1b704bf8" providerId="ADAL" clId="{2F42D7B1-B962-445E-8485-41980C3AF6B0}" dt="2023-02-27T15:37:40.143" v="2666" actId="790"/>
          <ac:spMkLst>
            <pc:docMk/>
            <pc:sldMk cId="2944023916" sldId="5386"/>
            <ac:spMk id="6" creationId="{A6C8AE28-DBAB-4F89-B1B3-700129443BC9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7" creationId="{EDAAA555-663C-237F-51DF-C33F9FE4B86F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8" creationId="{149FCE66-DE3A-9A9E-932A-DB64AF141C0F}"/>
          </ac:spMkLst>
        </pc:spChg>
        <pc:spChg chg="add del mod modVis">
          <ac:chgData name="Doerfler, Lena" userId="aeb0559f-200d-4a58-9e6d-125e1b704bf8" providerId="ADAL" clId="{2F42D7B1-B962-445E-8485-41980C3AF6B0}" dt="2023-02-27T15:34:32.152" v="682"/>
          <ac:spMkLst>
            <pc:docMk/>
            <pc:sldMk cId="2944023916" sldId="5386"/>
            <ac:spMk id="10" creationId="{AAB2776C-BE95-9988-4AF4-942CAAA2FF89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11" creationId="{1B48F966-6751-8FAB-ACDA-F4A02B05CE72}"/>
          </ac:spMkLst>
        </pc:spChg>
        <pc:spChg chg="add del mod modVis">
          <ac:chgData name="Doerfler, Lena" userId="aeb0559f-200d-4a58-9e6d-125e1b704bf8" providerId="ADAL" clId="{2F42D7B1-B962-445E-8485-41980C3AF6B0}" dt="2023-02-27T15:34:35.976" v="740"/>
          <ac:spMkLst>
            <pc:docMk/>
            <pc:sldMk cId="2944023916" sldId="5386"/>
            <ac:spMk id="12" creationId="{8FC426F0-2D67-E720-8E3B-E83BD99E2EB6}"/>
          </ac:spMkLst>
        </pc:spChg>
        <pc:spChg chg="add del mod modVis">
          <ac:chgData name="Doerfler, Lena" userId="aeb0559f-200d-4a58-9e6d-125e1b704bf8" providerId="ADAL" clId="{2F42D7B1-B962-445E-8485-41980C3AF6B0}" dt="2023-02-27T15:34:39.132" v="800"/>
          <ac:spMkLst>
            <pc:docMk/>
            <pc:sldMk cId="2944023916" sldId="5386"/>
            <ac:spMk id="13" creationId="{6F808014-519B-7980-A022-4E2425CAAE21}"/>
          </ac:spMkLst>
        </pc:spChg>
        <pc:spChg chg="add del mod ord">
          <ac:chgData name="Doerfler, Lena" userId="aeb0559f-200d-4a58-9e6d-125e1b704bf8" providerId="ADAL" clId="{2F42D7B1-B962-445E-8485-41980C3AF6B0}" dt="2023-02-27T15:34:52.949" v="810" actId="478"/>
          <ac:spMkLst>
            <pc:docMk/>
            <pc:sldMk cId="2944023916" sldId="5386"/>
            <ac:spMk id="14" creationId="{0AD5300A-F2B1-8928-6B6F-69A30F57805A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15" creationId="{13516D75-5114-8ECD-1032-4027282C9D61}"/>
          </ac:spMkLst>
        </pc:spChg>
        <pc:spChg chg="add del mod ord">
          <ac:chgData name="Doerfler, Lena" userId="aeb0559f-200d-4a58-9e6d-125e1b704bf8" providerId="ADAL" clId="{2F42D7B1-B962-445E-8485-41980C3AF6B0}" dt="2023-02-27T15:48:48.959" v="3072" actId="478"/>
          <ac:spMkLst>
            <pc:docMk/>
            <pc:sldMk cId="2944023916" sldId="5386"/>
            <ac:spMk id="16" creationId="{794CCF86-0C93-9F70-DE1E-0C302B07B0D2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17" creationId="{8A81FAD1-EAFF-CBC8-9BF9-531ADC8B12E9}"/>
          </ac:spMkLst>
        </pc:spChg>
        <pc:spChg chg="add del mod modVis">
          <ac:chgData name="Doerfler, Lena" userId="aeb0559f-200d-4a58-9e6d-125e1b704bf8" providerId="ADAL" clId="{2F42D7B1-B962-445E-8485-41980C3AF6B0}" dt="2023-02-27T15:36:32.617" v="1432"/>
          <ac:spMkLst>
            <pc:docMk/>
            <pc:sldMk cId="2944023916" sldId="5386"/>
            <ac:spMk id="18" creationId="{DB2D8333-0BC9-DAAF-20C1-C7618DD802DA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19" creationId="{90A729DC-BF5E-7245-C18D-644DCA4C79F8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20" creationId="{F648CFE0-1367-F87B-2DD3-44D8A31E8788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21" creationId="{759EE3D9-6B65-0D0C-89CB-E73B39E5314D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22" creationId="{B24E6724-8C02-F6F2-F627-32B2D9D61354}"/>
          </ac:spMkLst>
        </pc:spChg>
        <pc:spChg chg="mod">
          <ac:chgData name="Doerfler, Lena" userId="aeb0559f-200d-4a58-9e6d-125e1b704bf8" providerId="ADAL" clId="{2F42D7B1-B962-445E-8485-41980C3AF6B0}" dt="2023-02-28T08:14:04.743" v="3261" actId="164"/>
          <ac:spMkLst>
            <pc:docMk/>
            <pc:sldMk cId="2944023916" sldId="5386"/>
            <ac:spMk id="23" creationId="{1138C689-C2DC-4C02-56B9-BE37F900EAF5}"/>
          </ac:spMkLst>
        </pc:spChg>
        <pc:spChg chg="add del mod">
          <ac:chgData name="Doerfler, Lena" userId="aeb0559f-200d-4a58-9e6d-125e1b704bf8" providerId="ADAL" clId="{2F42D7B1-B962-445E-8485-41980C3AF6B0}" dt="2023-02-27T15:37:19.599" v="2494"/>
          <ac:spMkLst>
            <pc:docMk/>
            <pc:sldMk cId="2944023916" sldId="5386"/>
            <ac:spMk id="24" creationId="{B250095D-72D0-8D65-D9B0-44B423CFD75E}"/>
          </ac:spMkLst>
        </pc:spChg>
        <pc:spChg chg="add del mod modVis">
          <ac:chgData name="Doerfler, Lena" userId="aeb0559f-200d-4a58-9e6d-125e1b704bf8" providerId="ADAL" clId="{2F42D7B1-B962-445E-8485-41980C3AF6B0}" dt="2023-02-27T15:36:41.542" v="1954"/>
          <ac:spMkLst>
            <pc:docMk/>
            <pc:sldMk cId="2944023916" sldId="5386"/>
            <ac:spMk id="25" creationId="{D4A690E3-9EF6-5744-E2C0-1676BF5B01B1}"/>
          </ac:spMkLst>
        </pc:spChg>
        <pc:spChg chg="add del mod modVis">
          <ac:chgData name="Doerfler, Lena" userId="aeb0559f-200d-4a58-9e6d-125e1b704bf8" providerId="ADAL" clId="{2F42D7B1-B962-445E-8485-41980C3AF6B0}" dt="2023-02-27T15:37:03.175" v="2065"/>
          <ac:spMkLst>
            <pc:docMk/>
            <pc:sldMk cId="2944023916" sldId="5386"/>
            <ac:spMk id="26" creationId="{7A86D566-874F-D1E2-BC98-00FA10CBB328}"/>
          </ac:spMkLst>
        </pc:spChg>
        <pc:spChg chg="add del mod">
          <ac:chgData name="Doerfler, Lena" userId="aeb0559f-200d-4a58-9e6d-125e1b704bf8" providerId="ADAL" clId="{2F42D7B1-B962-445E-8485-41980C3AF6B0}" dt="2023-02-27T15:37:41.226" v="3001"/>
          <ac:spMkLst>
            <pc:docMk/>
            <pc:sldMk cId="2944023916" sldId="5386"/>
            <ac:spMk id="27" creationId="{01ED8D6B-D410-A195-CB81-3F4B72554970}"/>
          </ac:spMkLst>
        </pc:spChg>
        <pc:spChg chg="add del mod modVis">
          <ac:chgData name="Doerfler, Lena" userId="aeb0559f-200d-4a58-9e6d-125e1b704bf8" providerId="ADAL" clId="{2F42D7B1-B962-445E-8485-41980C3AF6B0}" dt="2023-02-27T15:37:19.960" v="2587"/>
          <ac:spMkLst>
            <pc:docMk/>
            <pc:sldMk cId="2944023916" sldId="5386"/>
            <ac:spMk id="28" creationId="{0A9C7247-1732-A17A-1844-87249CED63D4}"/>
          </ac:spMkLst>
        </pc:spChg>
        <pc:spChg chg="add mod">
          <ac:chgData name="Doerfler, Lena" userId="aeb0559f-200d-4a58-9e6d-125e1b704bf8" providerId="ADAL" clId="{2F42D7B1-B962-445E-8485-41980C3AF6B0}" dt="2023-02-27T15:37:41.226" v="3002"/>
          <ac:spMkLst>
            <pc:docMk/>
            <pc:sldMk cId="2944023916" sldId="5386"/>
            <ac:spMk id="29" creationId="{949142F9-D6E7-81F4-E8FF-CA7871AF1819}"/>
          </ac:spMkLst>
        </pc:spChg>
        <pc:grpChg chg="add mod">
          <ac:chgData name="Doerfler, Lena" userId="aeb0559f-200d-4a58-9e6d-125e1b704bf8" providerId="ADAL" clId="{2F42D7B1-B962-445E-8485-41980C3AF6B0}" dt="2023-02-28T08:14:04.743" v="3261" actId="164"/>
          <ac:grpSpMkLst>
            <pc:docMk/>
            <pc:sldMk cId="2944023916" sldId="5386"/>
            <ac:grpSpMk id="3" creationId="{1ED431EC-BA66-EDA6-CB50-7D54ACA0B181}"/>
          </ac:grpSpMkLst>
        </pc:grpChg>
        <pc:graphicFrameChg chg="mod">
          <ac:chgData name="Doerfler, Lena" userId="aeb0559f-200d-4a58-9e6d-125e1b704bf8" providerId="ADAL" clId="{2F42D7B1-B962-445E-8485-41980C3AF6B0}" dt="2023-02-27T15:37:19.963" v="2589"/>
          <ac:graphicFrameMkLst>
            <pc:docMk/>
            <pc:sldMk cId="2944023916" sldId="5386"/>
            <ac:graphicFrameMk id="9" creationId="{145CD8CB-8885-05B9-EA4F-C8CC76C313DD}"/>
          </ac:graphicFrameMkLst>
        </pc:graphicFrameChg>
      </pc:sldChg>
      <pc:sldChg chg="addSp delSp modSp del mod modClrScheme chgLayout modNotes">
        <pc:chgData name="Doerfler, Lena" userId="aeb0559f-200d-4a58-9e6d-125e1b704bf8" providerId="ADAL" clId="{2F42D7B1-B962-445E-8485-41980C3AF6B0}" dt="2023-03-01T14:15:16.025" v="6889" actId="2696"/>
        <pc:sldMkLst>
          <pc:docMk/>
          <pc:sldMk cId="3318331235" sldId="5387"/>
        </pc:sldMkLst>
        <pc:spChg chg="mod ord">
          <ac:chgData name="Doerfler, Lena" userId="aeb0559f-200d-4a58-9e6d-125e1b704bf8" providerId="ADAL" clId="{2F42D7B1-B962-445E-8485-41980C3AF6B0}" dt="2023-02-28T12:56:55.646" v="5644" actId="948"/>
          <ac:spMkLst>
            <pc:docMk/>
            <pc:sldMk cId="3318331235" sldId="5387"/>
            <ac:spMk id="2" creationId="{EFC0B6BA-7CEF-7DB5-D6AE-9ADE4BD19333}"/>
          </ac:spMkLst>
        </pc:spChg>
        <pc:spChg chg="add del mod">
          <ac:chgData name="Doerfler, Lena" userId="aeb0559f-200d-4a58-9e6d-125e1b704bf8" providerId="ADAL" clId="{2F42D7B1-B962-445E-8485-41980C3AF6B0}" dt="2023-02-27T15:37:19.609" v="2499"/>
          <ac:spMkLst>
            <pc:docMk/>
            <pc:sldMk cId="3318331235" sldId="5387"/>
            <ac:spMk id="3" creationId="{09E62FF4-D7ED-604C-1E2A-0F7C1078CDA3}"/>
          </ac:spMkLst>
        </pc:spChg>
        <pc:spChg chg="del mod">
          <ac:chgData name="Doerfler, Lena" userId="aeb0559f-200d-4a58-9e6d-125e1b704bf8" providerId="ADAL" clId="{2F42D7B1-B962-445E-8485-41980C3AF6B0}" dt="2023-02-27T15:36:41.159" v="1860"/>
          <ac:spMkLst>
            <pc:docMk/>
            <pc:sldMk cId="3318331235" sldId="5387"/>
            <ac:spMk id="4" creationId="{479A039E-4C80-17AA-C96F-BB2405EA04A9}"/>
          </ac:spMkLst>
        </pc:spChg>
        <pc:spChg chg="mod ord">
          <ac:chgData name="Doerfler, Lena" userId="aeb0559f-200d-4a58-9e6d-125e1b704bf8" providerId="ADAL" clId="{2F42D7B1-B962-445E-8485-41980C3AF6B0}" dt="2023-02-28T12:56:35.038" v="5366"/>
          <ac:spMkLst>
            <pc:docMk/>
            <pc:sldMk cId="3318331235" sldId="5387"/>
            <ac:spMk id="5" creationId="{C630AC07-1708-60A7-8BB8-8012A84F39BA}"/>
          </ac:spMkLst>
        </pc:spChg>
        <pc:spChg chg="mod ord">
          <ac:chgData name="Doerfler, Lena" userId="aeb0559f-200d-4a58-9e6d-125e1b704bf8" providerId="ADAL" clId="{2F42D7B1-B962-445E-8485-41980C3AF6B0}" dt="2023-02-28T12:56:35.038" v="5366"/>
          <ac:spMkLst>
            <pc:docMk/>
            <pc:sldMk cId="3318331235" sldId="5387"/>
            <ac:spMk id="6" creationId="{66652DF9-60ED-DC66-D3F6-B0FFEA69B2B2}"/>
          </ac:spMkLst>
        </pc:spChg>
        <pc:spChg chg="add del mod">
          <ac:chgData name="Doerfler, Lena" userId="aeb0559f-200d-4a58-9e6d-125e1b704bf8" providerId="ADAL" clId="{2F42D7B1-B962-445E-8485-41980C3AF6B0}" dt="2023-02-27T15:37:41.233" v="3006"/>
          <ac:spMkLst>
            <pc:docMk/>
            <pc:sldMk cId="3318331235" sldId="5387"/>
            <ac:spMk id="7" creationId="{C3F47830-41C8-E0C2-DBA0-7A394A41642E}"/>
          </ac:spMkLst>
        </pc:spChg>
        <pc:spChg chg="add mod">
          <ac:chgData name="Doerfler, Lena" userId="aeb0559f-200d-4a58-9e6d-125e1b704bf8" providerId="ADAL" clId="{2F42D7B1-B962-445E-8485-41980C3AF6B0}" dt="2023-03-01T13:22:59.786" v="6087" actId="1036"/>
          <ac:spMkLst>
            <pc:docMk/>
            <pc:sldMk cId="3318331235" sldId="5387"/>
            <ac:spMk id="7" creationId="{C7AF5215-7B35-36D4-2665-66D5C9AE52DC}"/>
          </ac:spMkLst>
        </pc:spChg>
        <pc:spChg chg="add mod ord">
          <ac:chgData name="Doerfler, Lena" userId="aeb0559f-200d-4a58-9e6d-125e1b704bf8" providerId="ADAL" clId="{2F42D7B1-B962-445E-8485-41980C3AF6B0}" dt="2023-02-28T12:56:35.038" v="5366"/>
          <ac:spMkLst>
            <pc:docMk/>
            <pc:sldMk cId="3318331235" sldId="5387"/>
            <ac:spMk id="9" creationId="{910386E6-7B42-C590-0CF4-CDD9FDC3F2A5}"/>
          </ac:spMkLst>
        </pc:spChg>
        <pc:spChg chg="add mod">
          <ac:chgData name="Doerfler, Lena" userId="aeb0559f-200d-4a58-9e6d-125e1b704bf8" providerId="ADAL" clId="{2F42D7B1-B962-445E-8485-41980C3AF6B0}" dt="2023-03-01T13:22:59.786" v="6087" actId="1036"/>
          <ac:spMkLst>
            <pc:docMk/>
            <pc:sldMk cId="3318331235" sldId="5387"/>
            <ac:spMk id="25" creationId="{D9AC783E-1C98-7EF8-BE45-93C1579678A7}"/>
          </ac:spMkLst>
        </pc:spChg>
        <pc:spChg chg="add mod">
          <ac:chgData name="Doerfler, Lena" userId="aeb0559f-200d-4a58-9e6d-125e1b704bf8" providerId="ADAL" clId="{2F42D7B1-B962-445E-8485-41980C3AF6B0}" dt="2023-03-01T13:22:59.786" v="6087" actId="1036"/>
          <ac:spMkLst>
            <pc:docMk/>
            <pc:sldMk cId="3318331235" sldId="5387"/>
            <ac:spMk id="26" creationId="{B37920D7-717E-62F7-7611-43029A9D9155}"/>
          </ac:spMkLst>
        </pc:spChg>
        <pc:spChg chg="add mod">
          <ac:chgData name="Doerfler, Lena" userId="aeb0559f-200d-4a58-9e6d-125e1b704bf8" providerId="ADAL" clId="{2F42D7B1-B962-445E-8485-41980C3AF6B0}" dt="2023-03-01T13:22:59.786" v="6087" actId="1036"/>
          <ac:spMkLst>
            <pc:docMk/>
            <pc:sldMk cId="3318331235" sldId="5387"/>
            <ac:spMk id="27" creationId="{F0627BA2-D181-1DB0-A3A7-952DCABAF484}"/>
          </ac:spMkLst>
        </pc:spChg>
        <pc:spChg chg="add mod">
          <ac:chgData name="Doerfler, Lena" userId="aeb0559f-200d-4a58-9e6d-125e1b704bf8" providerId="ADAL" clId="{2F42D7B1-B962-445E-8485-41980C3AF6B0}" dt="2023-03-01T13:22:59.786" v="6087" actId="1036"/>
          <ac:spMkLst>
            <pc:docMk/>
            <pc:sldMk cId="3318331235" sldId="5387"/>
            <ac:spMk id="28" creationId="{23F4F0E2-D7ED-A7A3-9020-BFD14ED51C9D}"/>
          </ac:spMkLst>
        </pc:spChg>
        <pc:spChg chg="add mod">
          <ac:chgData name="Doerfler, Lena" userId="aeb0559f-200d-4a58-9e6d-125e1b704bf8" providerId="ADAL" clId="{2F42D7B1-B962-445E-8485-41980C3AF6B0}" dt="2023-03-01T13:22:59.786" v="6087" actId="1036"/>
          <ac:spMkLst>
            <pc:docMk/>
            <pc:sldMk cId="3318331235" sldId="5387"/>
            <ac:spMk id="29" creationId="{391B87CD-E456-A118-D4D5-DE620BC5BB69}"/>
          </ac:spMkLst>
        </pc:spChg>
        <pc:spChg chg="add mod">
          <ac:chgData name="Doerfler, Lena" userId="aeb0559f-200d-4a58-9e6d-125e1b704bf8" providerId="ADAL" clId="{2F42D7B1-B962-445E-8485-41980C3AF6B0}" dt="2023-03-01T13:22:59.786" v="6087" actId="1036"/>
          <ac:spMkLst>
            <pc:docMk/>
            <pc:sldMk cId="3318331235" sldId="5387"/>
            <ac:spMk id="30" creationId="{3C916F8E-42C3-A477-C143-00362086495D}"/>
          </ac:spMkLst>
        </pc:spChg>
        <pc:spChg chg="add mod">
          <ac:chgData name="Doerfler, Lena" userId="aeb0559f-200d-4a58-9e6d-125e1b704bf8" providerId="ADAL" clId="{2F42D7B1-B962-445E-8485-41980C3AF6B0}" dt="2023-03-01T13:23:35.266" v="6093" actId="208"/>
          <ac:spMkLst>
            <pc:docMk/>
            <pc:sldMk cId="3318331235" sldId="5387"/>
            <ac:spMk id="31" creationId="{09A6E064-A35C-BF7E-096A-0C6C7ACFE614}"/>
          </ac:spMkLst>
        </pc:spChg>
        <pc:spChg chg="add del mod">
          <ac:chgData name="Doerfler, Lena" userId="aeb0559f-200d-4a58-9e6d-125e1b704bf8" providerId="ADAL" clId="{2F42D7B1-B962-445E-8485-41980C3AF6B0}" dt="2023-03-01T07:20:38.323" v="5749" actId="478"/>
          <ac:spMkLst>
            <pc:docMk/>
            <pc:sldMk cId="3318331235" sldId="5387"/>
            <ac:spMk id="32" creationId="{DDD25E2B-B281-FB48-14AE-471473EA9073}"/>
          </ac:spMkLst>
        </pc:spChg>
        <pc:spChg chg="add del mod ord">
          <ac:chgData name="Doerfler, Lena" userId="aeb0559f-200d-4a58-9e6d-125e1b704bf8" providerId="ADAL" clId="{2F42D7B1-B962-445E-8485-41980C3AF6B0}" dt="2023-02-28T12:56:42.347" v="5411" actId="478"/>
          <ac:spMkLst>
            <pc:docMk/>
            <pc:sldMk cId="3318331235" sldId="5387"/>
            <ac:spMk id="33" creationId="{DB7A365E-F6C2-D1CF-52A4-5850FFC5E051}"/>
          </ac:spMkLst>
        </pc:spChg>
        <pc:spChg chg="add mod ord">
          <ac:chgData name="Doerfler, Lena" userId="aeb0559f-200d-4a58-9e6d-125e1b704bf8" providerId="ADAL" clId="{2F42D7B1-B962-445E-8485-41980C3AF6B0}" dt="2023-02-28T12:56:35.038" v="5366"/>
          <ac:spMkLst>
            <pc:docMk/>
            <pc:sldMk cId="3318331235" sldId="5387"/>
            <ac:spMk id="34" creationId="{8F71E45D-906E-2648-ACEE-BCB58EC48553}"/>
          </ac:spMkLst>
        </pc:spChg>
        <pc:spChg chg="add del mod modVis">
          <ac:chgData name="Doerfler, Lena" userId="aeb0559f-200d-4a58-9e6d-125e1b704bf8" providerId="ADAL" clId="{2F42D7B1-B962-445E-8485-41980C3AF6B0}" dt="2023-02-28T12:56:35.704" v="5408"/>
          <ac:spMkLst>
            <pc:docMk/>
            <pc:sldMk cId="3318331235" sldId="5387"/>
            <ac:spMk id="35" creationId="{82009CF7-4E0F-12B8-B59D-446F2210B2B6}"/>
          </ac:spMkLst>
        </pc:spChg>
        <pc:spChg chg="add del mod modVis">
          <ac:chgData name="Doerfler, Lena" userId="aeb0559f-200d-4a58-9e6d-125e1b704bf8" providerId="ADAL" clId="{2F42D7B1-B962-445E-8485-41980C3AF6B0}" dt="2023-02-28T12:56:48.355" v="5476"/>
          <ac:spMkLst>
            <pc:docMk/>
            <pc:sldMk cId="3318331235" sldId="5387"/>
            <ac:spMk id="36" creationId="{F0A33AA8-79A8-31BB-89E8-81F92FC04E46}"/>
          </ac:spMkLst>
        </pc:spChg>
        <pc:spChg chg="add del mod modVis">
          <ac:chgData name="Doerfler, Lena" userId="aeb0559f-200d-4a58-9e6d-125e1b704bf8" providerId="ADAL" clId="{2F42D7B1-B962-445E-8485-41980C3AF6B0}" dt="2023-02-28T12:56:49.830" v="5528"/>
          <ac:spMkLst>
            <pc:docMk/>
            <pc:sldMk cId="3318331235" sldId="5387"/>
            <ac:spMk id="37" creationId="{AE5EC206-33C8-2F71-1927-AEBCB05336E1}"/>
          </ac:spMkLst>
        </pc:spChg>
        <pc:spChg chg="add del mod modVis">
          <ac:chgData name="Doerfler, Lena" userId="aeb0559f-200d-4a58-9e6d-125e1b704bf8" providerId="ADAL" clId="{2F42D7B1-B962-445E-8485-41980C3AF6B0}" dt="2023-02-28T12:56:53.683" v="5592"/>
          <ac:spMkLst>
            <pc:docMk/>
            <pc:sldMk cId="3318331235" sldId="5387"/>
            <ac:spMk id="38" creationId="{815AD6C1-AC88-CB65-459E-64D5177EA451}"/>
          </ac:spMkLst>
        </pc:spChg>
        <pc:spChg chg="add del mod modVis">
          <ac:chgData name="Doerfler, Lena" userId="aeb0559f-200d-4a58-9e6d-125e1b704bf8" providerId="ADAL" clId="{2F42D7B1-B962-445E-8485-41980C3AF6B0}" dt="2023-02-28T12:56:54.611" v="5639"/>
          <ac:spMkLst>
            <pc:docMk/>
            <pc:sldMk cId="3318331235" sldId="5387"/>
            <ac:spMk id="39" creationId="{8613F7FE-37C9-8775-69C2-B0BCD64321F4}"/>
          </ac:spMkLst>
        </pc:spChg>
        <pc:spChg chg="add del mod modVis">
          <ac:chgData name="Doerfler, Lena" userId="aeb0559f-200d-4a58-9e6d-125e1b704bf8" providerId="ADAL" clId="{2F42D7B1-B962-445E-8485-41980C3AF6B0}" dt="2023-02-28T12:56:55.691" v="5685"/>
          <ac:spMkLst>
            <pc:docMk/>
            <pc:sldMk cId="3318331235" sldId="5387"/>
            <ac:spMk id="40" creationId="{442E4DC1-A8AD-52CF-E1DF-DBC1F9A0EFB2}"/>
          </ac:spMkLst>
        </pc:spChg>
        <pc:graphicFrameChg chg="mod">
          <ac:chgData name="Doerfler, Lena" userId="aeb0559f-200d-4a58-9e6d-125e1b704bf8" providerId="ADAL" clId="{2F42D7B1-B962-445E-8485-41980C3AF6B0}" dt="2023-02-28T12:56:55.693" v="5687"/>
          <ac:graphicFrameMkLst>
            <pc:docMk/>
            <pc:sldMk cId="3318331235" sldId="5387"/>
            <ac:graphicFrameMk id="8" creationId="{62999167-B36C-52B5-0715-9EE11BC6F7CA}"/>
          </ac:graphicFrameMkLst>
        </pc:graphicFrameChg>
        <pc:picChg chg="add mod replST">
          <ac:chgData name="Doerfler, Lena" userId="aeb0559f-200d-4a58-9e6d-125e1b704bf8" providerId="ADAL" clId="{2F42D7B1-B962-445E-8485-41980C3AF6B0}" dt="2023-03-01T13:22:59.786" v="6087" actId="1036"/>
          <ac:picMkLst>
            <pc:docMk/>
            <pc:sldMk cId="3318331235" sldId="5387"/>
            <ac:picMk id="3" creationId="{8E4BF4D8-E3A0-18F6-D278-6F5E7782175E}"/>
          </ac:picMkLst>
        </pc:picChg>
        <pc:picChg chg="add mod">
          <ac:chgData name="Doerfler, Lena" userId="aeb0559f-200d-4a58-9e6d-125e1b704bf8" providerId="ADAL" clId="{2F42D7B1-B962-445E-8485-41980C3AF6B0}" dt="2023-03-01T13:22:59.786" v="6087" actId="1036"/>
          <ac:picMkLst>
            <pc:docMk/>
            <pc:sldMk cId="3318331235" sldId="5387"/>
            <ac:picMk id="4" creationId="{E59D6BA2-C5C4-00F7-76AD-CB5B0B4BA3FC}"/>
          </ac:picMkLst>
        </pc:picChg>
        <pc:picChg chg="add del mod replST">
          <ac:chgData name="Doerfler, Lena" userId="aeb0559f-200d-4a58-9e6d-125e1b704bf8" providerId="ADAL" clId="{2F42D7B1-B962-445E-8485-41980C3AF6B0}" dt="2023-02-28T12:46:04.397" v="4999" actId="478"/>
          <ac:picMkLst>
            <pc:docMk/>
            <pc:sldMk cId="3318331235" sldId="5387"/>
            <ac:picMk id="7" creationId="{7931A2BF-551D-2705-2BB2-BB357058182C}"/>
          </ac:picMkLst>
        </pc:picChg>
        <pc:picChg chg="add del mod">
          <ac:chgData name="Doerfler, Lena" userId="aeb0559f-200d-4a58-9e6d-125e1b704bf8" providerId="ADAL" clId="{2F42D7B1-B962-445E-8485-41980C3AF6B0}" dt="2023-02-28T12:39:38.131" v="4895" actId="478"/>
          <ac:picMkLst>
            <pc:docMk/>
            <pc:sldMk cId="3318331235" sldId="5387"/>
            <ac:picMk id="10" creationId="{7C504CDD-290E-3226-E4E7-56841F10F728}"/>
          </ac:picMkLst>
        </pc:picChg>
        <pc:picChg chg="add mod replST">
          <ac:chgData name="Doerfler, Lena" userId="aeb0559f-200d-4a58-9e6d-125e1b704bf8" providerId="ADAL" clId="{2F42D7B1-B962-445E-8485-41980C3AF6B0}" dt="2023-03-01T13:22:59.786" v="6087" actId="1036"/>
          <ac:picMkLst>
            <pc:docMk/>
            <pc:sldMk cId="3318331235" sldId="5387"/>
            <ac:picMk id="10" creationId="{EE6A415A-8208-D80F-3D4B-F397CB170886}"/>
          </ac:picMkLst>
        </pc:picChg>
        <pc:picChg chg="add del mod replST">
          <ac:chgData name="Doerfler, Lena" userId="aeb0559f-200d-4a58-9e6d-125e1b704bf8" providerId="ADAL" clId="{2F42D7B1-B962-445E-8485-41980C3AF6B0}" dt="2023-02-28T12:46:08.565" v="5002" actId="478"/>
          <ac:picMkLst>
            <pc:docMk/>
            <pc:sldMk cId="3318331235" sldId="5387"/>
            <ac:picMk id="11" creationId="{C4CD946B-FAFB-551B-02B7-6046E8272AA9}"/>
          </ac:picMkLst>
        </pc:picChg>
        <pc:picChg chg="add mod">
          <ac:chgData name="Doerfler, Lena" userId="aeb0559f-200d-4a58-9e6d-125e1b704bf8" providerId="ADAL" clId="{2F42D7B1-B962-445E-8485-41980C3AF6B0}" dt="2023-03-01T13:22:59.786" v="6087" actId="1036"/>
          <ac:picMkLst>
            <pc:docMk/>
            <pc:sldMk cId="3318331235" sldId="5387"/>
            <ac:picMk id="12" creationId="{5CD3E042-AD39-A2A6-CB5A-C9F8F15BDB6C}"/>
          </ac:picMkLst>
        </pc:picChg>
        <pc:picChg chg="add del mod replST">
          <ac:chgData name="Doerfler, Lena" userId="aeb0559f-200d-4a58-9e6d-125e1b704bf8" providerId="ADAL" clId="{2F42D7B1-B962-445E-8485-41980C3AF6B0}" dt="2023-02-28T12:46:24.826" v="5029"/>
          <ac:picMkLst>
            <pc:docMk/>
            <pc:sldMk cId="3318331235" sldId="5387"/>
            <ac:picMk id="13" creationId="{F1DF8E35-6F04-AFF6-6284-57617C36D08A}"/>
          </ac:picMkLst>
        </pc:picChg>
        <pc:picChg chg="add del mod">
          <ac:chgData name="Doerfler, Lena" userId="aeb0559f-200d-4a58-9e6d-125e1b704bf8" providerId="ADAL" clId="{2F42D7B1-B962-445E-8485-41980C3AF6B0}" dt="2023-02-28T12:45:26.051" v="4986" actId="478"/>
          <ac:picMkLst>
            <pc:docMk/>
            <pc:sldMk cId="3318331235" sldId="5387"/>
            <ac:picMk id="14" creationId="{EAFD92DD-4C56-19DB-3632-2B69B08450E4}"/>
          </ac:picMkLst>
        </pc:picChg>
        <pc:picChg chg="add del mod replST">
          <ac:chgData name="Doerfler, Lena" userId="aeb0559f-200d-4a58-9e6d-125e1b704bf8" providerId="ADAL" clId="{2F42D7B1-B962-445E-8485-41980C3AF6B0}" dt="2023-02-28T12:48:13.505" v="5085" actId="478"/>
          <ac:picMkLst>
            <pc:docMk/>
            <pc:sldMk cId="3318331235" sldId="5387"/>
            <ac:picMk id="15" creationId="{6E5A8AD0-411D-03F7-827F-B4448A36A49A}"/>
          </ac:picMkLst>
        </pc:picChg>
        <pc:picChg chg="add del mod">
          <ac:chgData name="Doerfler, Lena" userId="aeb0559f-200d-4a58-9e6d-125e1b704bf8" providerId="ADAL" clId="{2F42D7B1-B962-445E-8485-41980C3AF6B0}" dt="2023-02-28T12:45:25.237" v="4985" actId="478"/>
          <ac:picMkLst>
            <pc:docMk/>
            <pc:sldMk cId="3318331235" sldId="5387"/>
            <ac:picMk id="16" creationId="{CFA1E2E3-B231-DC13-1F8F-63C194362CC2}"/>
          </ac:picMkLst>
        </pc:picChg>
        <pc:picChg chg="add del mod ord replST">
          <ac:chgData name="Doerfler, Lena" userId="aeb0559f-200d-4a58-9e6d-125e1b704bf8" providerId="ADAL" clId="{2F42D7B1-B962-445E-8485-41980C3AF6B0}" dt="2023-03-01T07:30:20.777" v="5883" actId="478"/>
          <ac:picMkLst>
            <pc:docMk/>
            <pc:sldMk cId="3318331235" sldId="5387"/>
            <ac:picMk id="17" creationId="{63AFA625-79EF-7BFD-6273-FBCEA280A6B7}"/>
          </ac:picMkLst>
        </pc:picChg>
        <pc:picChg chg="add del mod">
          <ac:chgData name="Doerfler, Lena" userId="aeb0559f-200d-4a58-9e6d-125e1b704bf8" providerId="ADAL" clId="{2F42D7B1-B962-445E-8485-41980C3AF6B0}" dt="2023-02-28T12:46:26.885" v="5038" actId="478"/>
          <ac:picMkLst>
            <pc:docMk/>
            <pc:sldMk cId="3318331235" sldId="5387"/>
            <ac:picMk id="19" creationId="{46138F41-16C7-F382-F4E3-51A840131B04}"/>
          </ac:picMkLst>
        </pc:picChg>
        <pc:picChg chg="add mod">
          <ac:chgData name="Doerfler, Lena" userId="aeb0559f-200d-4a58-9e6d-125e1b704bf8" providerId="ADAL" clId="{2F42D7B1-B962-445E-8485-41980C3AF6B0}" dt="2023-03-01T13:22:59.786" v="6087" actId="1036"/>
          <ac:picMkLst>
            <pc:docMk/>
            <pc:sldMk cId="3318331235" sldId="5387"/>
            <ac:picMk id="21" creationId="{BCC44B32-F903-A940-05A6-1C2058DEB2F6}"/>
          </ac:picMkLst>
        </pc:picChg>
        <pc:picChg chg="add mod ord replST">
          <ac:chgData name="Doerfler, Lena" userId="aeb0559f-200d-4a58-9e6d-125e1b704bf8" providerId="ADAL" clId="{2F42D7B1-B962-445E-8485-41980C3AF6B0}" dt="2023-03-01T13:22:59.786" v="6087" actId="1036"/>
          <ac:picMkLst>
            <pc:docMk/>
            <pc:sldMk cId="3318331235" sldId="5387"/>
            <ac:picMk id="22" creationId="{19E9F7D5-81D2-C20E-AD0B-D85EF400442A}"/>
          </ac:picMkLst>
        </pc:picChg>
        <pc:picChg chg="add mod">
          <ac:chgData name="Doerfler, Lena" userId="aeb0559f-200d-4a58-9e6d-125e1b704bf8" providerId="ADAL" clId="{2F42D7B1-B962-445E-8485-41980C3AF6B0}" dt="2023-02-28T12:47:40.334" v="5078" actId="571"/>
          <ac:picMkLst>
            <pc:docMk/>
            <pc:sldMk cId="3318331235" sldId="5387"/>
            <ac:picMk id="23" creationId="{AAA0D379-14F8-C3CD-1134-5C78955FDD80}"/>
          </ac:picMkLst>
        </pc:picChg>
        <pc:picChg chg="add mod">
          <ac:chgData name="Doerfler, Lena" userId="aeb0559f-200d-4a58-9e6d-125e1b704bf8" providerId="ADAL" clId="{2F42D7B1-B962-445E-8485-41980C3AF6B0}" dt="2023-02-28T12:47:40.334" v="5078" actId="571"/>
          <ac:picMkLst>
            <pc:docMk/>
            <pc:sldMk cId="3318331235" sldId="5387"/>
            <ac:picMk id="24" creationId="{2A95B990-7F8D-E79A-66D7-F3CB1506C686}"/>
          </ac:picMkLst>
        </pc:picChg>
        <pc:picChg chg="add mod">
          <ac:chgData name="Doerfler, Lena" userId="aeb0559f-200d-4a58-9e6d-125e1b704bf8" providerId="ADAL" clId="{2F42D7B1-B962-445E-8485-41980C3AF6B0}" dt="2023-03-01T13:23:40.693" v="6094" actId="1076"/>
          <ac:picMkLst>
            <pc:docMk/>
            <pc:sldMk cId="3318331235" sldId="5387"/>
            <ac:picMk id="1026" creationId="{65933F98-9726-C0F8-26FD-6BF8967ACEE0}"/>
          </ac:picMkLst>
        </pc:picChg>
        <pc:cxnChg chg="add del mod">
          <ac:chgData name="Doerfler, Lena" userId="aeb0559f-200d-4a58-9e6d-125e1b704bf8" providerId="ADAL" clId="{2F42D7B1-B962-445E-8485-41980C3AF6B0}" dt="2023-03-01T07:21:48.604" v="5788" actId="478"/>
          <ac:cxnSpMkLst>
            <pc:docMk/>
            <pc:sldMk cId="3318331235" sldId="5387"/>
            <ac:cxnSpMk id="13" creationId="{9BD23760-7B44-E401-47D1-2160FF38789A}"/>
          </ac:cxnSpMkLst>
        </pc:cxnChg>
      </pc:sldChg>
      <pc:sldChg chg="addSp modSp del mod modNotes">
        <pc:chgData name="Doerfler, Lena" userId="aeb0559f-200d-4a58-9e6d-125e1b704bf8" providerId="ADAL" clId="{2F42D7B1-B962-445E-8485-41980C3AF6B0}" dt="2023-03-01T14:15:16.294" v="6898" actId="2696"/>
        <pc:sldMkLst>
          <pc:docMk/>
          <pc:sldMk cId="2701553827" sldId="5388"/>
        </pc:sldMkLst>
        <pc:spChg chg="mod">
          <ac:chgData name="Doerfler, Lena" userId="aeb0559f-200d-4a58-9e6d-125e1b704bf8" providerId="ADAL" clId="{2F42D7B1-B962-445E-8485-41980C3AF6B0}" dt="2023-02-27T15:37:40.678" v="2943" actId="947"/>
          <ac:spMkLst>
            <pc:docMk/>
            <pc:sldMk cId="2701553827" sldId="5388"/>
            <ac:spMk id="3" creationId="{B4AC939A-A6E7-44D7-B8DD-6EA76BF78641}"/>
          </ac:spMkLst>
        </pc:spChg>
        <pc:graphicFrameChg chg="add mod ord modVis replST">
          <ac:chgData name="Doerfler, Lena" userId="aeb0559f-200d-4a58-9e6d-125e1b704bf8" providerId="ADAL" clId="{2F42D7B1-B962-445E-8485-41980C3AF6B0}" dt="2023-02-27T15:37:41.466" v="3056"/>
          <ac:graphicFrameMkLst>
            <pc:docMk/>
            <pc:sldMk cId="2701553827" sldId="5388"/>
            <ac:graphicFrameMk id="4" creationId="{61D1EE2D-4FA1-A6E0-5E7C-0DDFEC79FDC8}"/>
          </ac:graphicFrameMkLst>
        </pc:graphicFrameChg>
      </pc:sldChg>
      <pc:sldChg chg="addSp delSp modSp add del mod">
        <pc:chgData name="Doerfler, Lena" userId="aeb0559f-200d-4a58-9e6d-125e1b704bf8" providerId="ADAL" clId="{2F42D7B1-B962-445E-8485-41980C3AF6B0}" dt="2023-02-27T15:32:05.443" v="205" actId="47"/>
        <pc:sldMkLst>
          <pc:docMk/>
          <pc:sldMk cId="1464951500" sldId="5389"/>
        </pc:sldMkLst>
        <pc:spChg chg="add del mod modVis">
          <ac:chgData name="Doerfler, Lena" userId="aeb0559f-200d-4a58-9e6d-125e1b704bf8" providerId="ADAL" clId="{2F42D7B1-B962-445E-8485-41980C3AF6B0}" dt="2023-02-27T15:30:32.066" v="106" actId="962"/>
          <ac:spMkLst>
            <pc:docMk/>
            <pc:sldMk cId="1464951500" sldId="5389"/>
            <ac:spMk id="2" creationId="{142682DC-16C8-8C41-30C6-4740A246C8CD}"/>
          </ac:spMkLst>
        </pc:spChg>
        <pc:spChg chg="mod">
          <ac:chgData name="Doerfler, Lena" userId="aeb0559f-200d-4a58-9e6d-125e1b704bf8" providerId="ADAL" clId="{2F42D7B1-B962-445E-8485-41980C3AF6B0}" dt="2023-02-27T15:31:10.082" v="120" actId="1076"/>
          <ac:spMkLst>
            <pc:docMk/>
            <pc:sldMk cId="1464951500" sldId="5389"/>
            <ac:spMk id="3" creationId="{7E2F4899-FD78-4FDE-9B95-22714E6E6F2F}"/>
          </ac:spMkLst>
        </pc:spChg>
        <pc:spChg chg="mod">
          <ac:chgData name="Doerfler, Lena" userId="aeb0559f-200d-4a58-9e6d-125e1b704bf8" providerId="ADAL" clId="{2F42D7B1-B962-445E-8485-41980C3AF6B0}" dt="2023-02-27T15:30:32.066" v="108" actId="1076"/>
          <ac:spMkLst>
            <pc:docMk/>
            <pc:sldMk cId="1464951500" sldId="5389"/>
            <ac:spMk id="16" creationId="{D83076B2-99C8-49A0-8F39-42B899B48F92}"/>
          </ac:spMkLst>
        </pc:spChg>
        <pc:spChg chg="mod">
          <ac:chgData name="Doerfler, Lena" userId="aeb0559f-200d-4a58-9e6d-125e1b704bf8" providerId="ADAL" clId="{2F42D7B1-B962-445E-8485-41980C3AF6B0}" dt="2023-02-27T15:31:12.340" v="122" actId="1076"/>
          <ac:spMkLst>
            <pc:docMk/>
            <pc:sldMk cId="1464951500" sldId="5389"/>
            <ac:spMk id="24" creationId="{1980FE84-70D1-4515-A550-38856F2A97E8}"/>
          </ac:spMkLst>
        </pc:spChg>
        <pc:spChg chg="del">
          <ac:chgData name="Doerfler, Lena" userId="aeb0559f-200d-4a58-9e6d-125e1b704bf8" providerId="ADAL" clId="{2F42D7B1-B962-445E-8485-41980C3AF6B0}" dt="2023-02-27T15:30:41.482" v="111" actId="478"/>
          <ac:spMkLst>
            <pc:docMk/>
            <pc:sldMk cId="1464951500" sldId="5389"/>
            <ac:spMk id="30" creationId="{5B721ECF-3C7B-491B-8B3E-9F3D81B1069A}"/>
          </ac:spMkLst>
        </pc:spChg>
        <pc:spChg chg="del">
          <ac:chgData name="Doerfler, Lena" userId="aeb0559f-200d-4a58-9e6d-125e1b704bf8" providerId="ADAL" clId="{2F42D7B1-B962-445E-8485-41980C3AF6B0}" dt="2023-02-27T15:31:16.242" v="123" actId="478"/>
          <ac:spMkLst>
            <pc:docMk/>
            <pc:sldMk cId="1464951500" sldId="5389"/>
            <ac:spMk id="48" creationId="{824CA2A5-3CDE-4BFB-BE42-7943336893D4}"/>
          </ac:spMkLst>
        </pc:spChg>
        <pc:spChg chg="del">
          <ac:chgData name="Doerfler, Lena" userId="aeb0559f-200d-4a58-9e6d-125e1b704bf8" providerId="ADAL" clId="{2F42D7B1-B962-445E-8485-41980C3AF6B0}" dt="2023-02-27T15:30:39.742" v="110" actId="478"/>
          <ac:spMkLst>
            <pc:docMk/>
            <pc:sldMk cId="1464951500" sldId="5389"/>
            <ac:spMk id="49" creationId="{DCDE3585-53B9-400F-A6E6-6D3051B8FE3E}"/>
          </ac:spMkLst>
        </pc:spChg>
        <pc:spChg chg="del">
          <ac:chgData name="Doerfler, Lena" userId="aeb0559f-200d-4a58-9e6d-125e1b704bf8" providerId="ADAL" clId="{2F42D7B1-B962-445E-8485-41980C3AF6B0}" dt="2023-02-27T15:31:16.242" v="123" actId="478"/>
          <ac:spMkLst>
            <pc:docMk/>
            <pc:sldMk cId="1464951500" sldId="5389"/>
            <ac:spMk id="50" creationId="{77D819D9-9ACA-43B9-9E35-63FEDEDBD01D}"/>
          </ac:spMkLst>
        </pc:spChg>
        <pc:spChg chg="del">
          <ac:chgData name="Doerfler, Lena" userId="aeb0559f-200d-4a58-9e6d-125e1b704bf8" providerId="ADAL" clId="{2F42D7B1-B962-445E-8485-41980C3AF6B0}" dt="2023-02-27T15:30:36.992" v="109" actId="478"/>
          <ac:spMkLst>
            <pc:docMk/>
            <pc:sldMk cId="1464951500" sldId="5389"/>
            <ac:spMk id="52" creationId="{51AF0FC1-664A-4D6B-AB55-4A6B79A28B8D}"/>
          </ac:spMkLst>
        </pc:spChg>
        <pc:spChg chg="del">
          <ac:chgData name="Doerfler, Lena" userId="aeb0559f-200d-4a58-9e6d-125e1b704bf8" providerId="ADAL" clId="{2F42D7B1-B962-445E-8485-41980C3AF6B0}" dt="2023-02-27T15:30:36.992" v="109" actId="478"/>
          <ac:spMkLst>
            <pc:docMk/>
            <pc:sldMk cId="1464951500" sldId="5389"/>
            <ac:spMk id="53" creationId="{E84F1484-ADCE-4551-88CB-CA141074ED40}"/>
          </ac:spMkLst>
        </pc:spChg>
        <pc:spChg chg="del">
          <ac:chgData name="Doerfler, Lena" userId="aeb0559f-200d-4a58-9e6d-125e1b704bf8" providerId="ADAL" clId="{2F42D7B1-B962-445E-8485-41980C3AF6B0}" dt="2023-02-27T15:31:16.242" v="123" actId="478"/>
          <ac:spMkLst>
            <pc:docMk/>
            <pc:sldMk cId="1464951500" sldId="5389"/>
            <ac:spMk id="75" creationId="{86E4ABC5-D012-4113-86CA-45BAE3E7E9AA}"/>
          </ac:spMkLst>
        </pc:spChg>
        <pc:spChg chg="del">
          <ac:chgData name="Doerfler, Lena" userId="aeb0559f-200d-4a58-9e6d-125e1b704bf8" providerId="ADAL" clId="{2F42D7B1-B962-445E-8485-41980C3AF6B0}" dt="2023-02-27T15:30:36.992" v="109" actId="478"/>
          <ac:spMkLst>
            <pc:docMk/>
            <pc:sldMk cId="1464951500" sldId="5389"/>
            <ac:spMk id="89" creationId="{2D96F1B3-013E-F5C7-67CB-D5AF7D89CBAA}"/>
          </ac:spMkLst>
        </pc:spChg>
        <pc:spChg chg="del">
          <ac:chgData name="Doerfler, Lena" userId="aeb0559f-200d-4a58-9e6d-125e1b704bf8" providerId="ADAL" clId="{2F42D7B1-B962-445E-8485-41980C3AF6B0}" dt="2023-02-27T15:31:16.242" v="123" actId="478"/>
          <ac:spMkLst>
            <pc:docMk/>
            <pc:sldMk cId="1464951500" sldId="5389"/>
            <ac:spMk id="95" creationId="{0F684D99-F0A9-4CD5-BFF8-58063E153CF8}"/>
          </ac:spMkLst>
        </pc:spChg>
        <pc:spChg chg="del">
          <ac:chgData name="Doerfler, Lena" userId="aeb0559f-200d-4a58-9e6d-125e1b704bf8" providerId="ADAL" clId="{2F42D7B1-B962-445E-8485-41980C3AF6B0}" dt="2023-02-27T15:30:28.966" v="1" actId="478"/>
          <ac:spMkLst>
            <pc:docMk/>
            <pc:sldMk cId="1464951500" sldId="5389"/>
            <ac:spMk id="101" creationId="{7A5202D9-447D-496D-9515-1DECDFE8A56B}"/>
          </ac:spMkLst>
        </pc:spChg>
        <pc:spChg chg="del mod">
          <ac:chgData name="Doerfler, Lena" userId="aeb0559f-200d-4a58-9e6d-125e1b704bf8" providerId="ADAL" clId="{2F42D7B1-B962-445E-8485-41980C3AF6B0}" dt="2023-02-27T15:30:45.383" v="115" actId="478"/>
          <ac:spMkLst>
            <pc:docMk/>
            <pc:sldMk cId="1464951500" sldId="5389"/>
            <ac:spMk id="102" creationId="{81D11542-C8C9-438B-93D2-CFD2AB6D4FDF}"/>
          </ac:spMkLst>
        </pc:spChg>
        <pc:grpChg chg="del">
          <ac:chgData name="Doerfler, Lena" userId="aeb0559f-200d-4a58-9e6d-125e1b704bf8" providerId="ADAL" clId="{2F42D7B1-B962-445E-8485-41980C3AF6B0}" dt="2023-02-27T15:30:36.992" v="109" actId="478"/>
          <ac:grpSpMkLst>
            <pc:docMk/>
            <pc:sldMk cId="1464951500" sldId="5389"/>
            <ac:grpSpMk id="8" creationId="{F5F89834-C6DD-460D-9F12-D66F74B1F6D0}"/>
          </ac:grpSpMkLst>
        </pc:grpChg>
        <pc:grpChg chg="del">
          <ac:chgData name="Doerfler, Lena" userId="aeb0559f-200d-4a58-9e6d-125e1b704bf8" providerId="ADAL" clId="{2F42D7B1-B962-445E-8485-41980C3AF6B0}" dt="2023-02-27T15:31:16.242" v="123" actId="478"/>
          <ac:grpSpMkLst>
            <pc:docMk/>
            <pc:sldMk cId="1464951500" sldId="5389"/>
            <ac:grpSpMk id="27" creationId="{A151701C-BDB6-31CC-299D-27D87087040E}"/>
          </ac:grpSpMkLst>
        </pc:grpChg>
        <pc:grpChg chg="del">
          <ac:chgData name="Doerfler, Lena" userId="aeb0559f-200d-4a58-9e6d-125e1b704bf8" providerId="ADAL" clId="{2F42D7B1-B962-445E-8485-41980C3AF6B0}" dt="2023-02-27T15:30:36.992" v="109" actId="478"/>
          <ac:grpSpMkLst>
            <pc:docMk/>
            <pc:sldMk cId="1464951500" sldId="5389"/>
            <ac:grpSpMk id="70" creationId="{319DBD7E-51CE-4C66-A921-8DDF65363565}"/>
          </ac:grpSpMkLst>
        </pc:grpChg>
        <pc:graphicFrameChg chg="add mod ord modVis replST delST">
          <ac:chgData name="Doerfler, Lena" userId="aeb0559f-200d-4a58-9e6d-125e1b704bf8" providerId="ADAL" clId="{2F42D7B1-B962-445E-8485-41980C3AF6B0}" dt="2023-02-27T15:30:32.016" v="68" actId="14100"/>
          <ac:graphicFrameMkLst>
            <pc:docMk/>
            <pc:sldMk cId="1464951500" sldId="5389"/>
            <ac:graphicFrameMk id="4" creationId="{0557CA19-30FA-1343-B641-FF3272F54B3E}"/>
          </ac:graphicFrameMkLst>
        </pc:graphicFrameChg>
        <pc:picChg chg="del">
          <ac:chgData name="Doerfler, Lena" userId="aeb0559f-200d-4a58-9e6d-125e1b704bf8" providerId="ADAL" clId="{2F42D7B1-B962-445E-8485-41980C3AF6B0}" dt="2023-02-27T15:30:36.992" v="109" actId="478"/>
          <ac:picMkLst>
            <pc:docMk/>
            <pc:sldMk cId="1464951500" sldId="5389"/>
            <ac:picMk id="21" creationId="{CE5F9446-5776-D157-349A-C5FB7A40701A}"/>
          </ac:picMkLst>
        </pc:picChg>
        <pc:picChg chg="del">
          <ac:chgData name="Doerfler, Lena" userId="aeb0559f-200d-4a58-9e6d-125e1b704bf8" providerId="ADAL" clId="{2F42D7B1-B962-445E-8485-41980C3AF6B0}" dt="2023-02-27T15:30:42.542" v="112" actId="478"/>
          <ac:picMkLst>
            <pc:docMk/>
            <pc:sldMk cId="1464951500" sldId="5389"/>
            <ac:picMk id="25" creationId="{43266FE7-07B3-C1BB-894E-5E66127D0B1E}"/>
          </ac:picMkLst>
        </pc:picChg>
        <pc:picChg chg="del">
          <ac:chgData name="Doerfler, Lena" userId="aeb0559f-200d-4a58-9e6d-125e1b704bf8" providerId="ADAL" clId="{2F42D7B1-B962-445E-8485-41980C3AF6B0}" dt="2023-02-27T15:30:43.309" v="113" actId="478"/>
          <ac:picMkLst>
            <pc:docMk/>
            <pc:sldMk cId="1464951500" sldId="5389"/>
            <ac:picMk id="36" creationId="{D62DAAFC-2903-4D94-9DC7-200771D7C98A}"/>
          </ac:picMkLst>
        </pc:picChg>
        <pc:picChg chg="del">
          <ac:chgData name="Doerfler, Lena" userId="aeb0559f-200d-4a58-9e6d-125e1b704bf8" providerId="ADAL" clId="{2F42D7B1-B962-445E-8485-41980C3AF6B0}" dt="2023-02-27T15:30:36.992" v="109" actId="478"/>
          <ac:picMkLst>
            <pc:docMk/>
            <pc:sldMk cId="1464951500" sldId="5389"/>
            <ac:picMk id="83" creationId="{CEE82639-D8FA-358E-E8D1-9EF1BE515363}"/>
          </ac:picMkLst>
        </pc:picChg>
        <pc:picChg chg="del">
          <ac:chgData name="Doerfler, Lena" userId="aeb0559f-200d-4a58-9e6d-125e1b704bf8" providerId="ADAL" clId="{2F42D7B1-B962-445E-8485-41980C3AF6B0}" dt="2023-02-27T15:30:36.992" v="109" actId="478"/>
          <ac:picMkLst>
            <pc:docMk/>
            <pc:sldMk cId="1464951500" sldId="5389"/>
            <ac:picMk id="87" creationId="{2B587286-274F-C712-FF0F-73616F1E2C0E}"/>
          </ac:picMkLst>
        </pc:picChg>
        <pc:cxnChg chg="del">
          <ac:chgData name="Doerfler, Lena" userId="aeb0559f-200d-4a58-9e6d-125e1b704bf8" providerId="ADAL" clId="{2F42D7B1-B962-445E-8485-41980C3AF6B0}" dt="2023-02-27T15:31:16.242" v="123" actId="478"/>
          <ac:cxnSpMkLst>
            <pc:docMk/>
            <pc:sldMk cId="1464951500" sldId="5389"/>
            <ac:cxnSpMk id="77" creationId="{4FEAE43D-A276-41C7-AB7D-3554192E7DBB}"/>
          </ac:cxnSpMkLst>
        </pc:cxnChg>
      </pc:sldChg>
      <pc:sldChg chg="addSp delSp modSp add del mod chgLayout modNotes">
        <pc:chgData name="Doerfler, Lena" userId="aeb0559f-200d-4a58-9e6d-125e1b704bf8" providerId="ADAL" clId="{2F42D7B1-B962-445E-8485-41980C3AF6B0}" dt="2023-03-01T14:15:16.176" v="6894" actId="2696"/>
        <pc:sldMkLst>
          <pc:docMk/>
          <pc:sldMk cId="324287387" sldId="5390"/>
        </pc:sldMkLst>
        <pc:spChg chg="add del mod">
          <ac:chgData name="Doerfler, Lena" userId="aeb0559f-200d-4a58-9e6d-125e1b704bf8" providerId="ADAL" clId="{2F42D7B1-B962-445E-8485-41980C3AF6B0}" dt="2023-02-27T15:37:19.666" v="2529"/>
          <ac:spMkLst>
            <pc:docMk/>
            <pc:sldMk cId="324287387" sldId="5390"/>
            <ac:spMk id="2" creationId="{D4E1FE02-FD1E-76E8-1890-898344EA0538}"/>
          </ac:spMkLst>
        </pc:spChg>
        <pc:spChg chg="del mod">
          <ac:chgData name="Doerfler, Lena" userId="aeb0559f-200d-4a58-9e6d-125e1b704bf8" providerId="ADAL" clId="{2F42D7B1-B962-445E-8485-41980C3AF6B0}" dt="2023-02-27T15:36:41.216" v="1890"/>
          <ac:spMkLst>
            <pc:docMk/>
            <pc:sldMk cId="324287387" sldId="5390"/>
            <ac:spMk id="3" creationId="{7E2F4899-FD78-4FDE-9B95-22714E6E6F2F}"/>
          </ac:spMkLst>
        </pc:spChg>
        <pc:spChg chg="add del mod">
          <ac:chgData name="Doerfler, Lena" userId="aeb0559f-200d-4a58-9e6d-125e1b704bf8" providerId="ADAL" clId="{2F42D7B1-B962-445E-8485-41980C3AF6B0}" dt="2023-02-27T15:37:41.309" v="3036"/>
          <ac:spMkLst>
            <pc:docMk/>
            <pc:sldMk cId="324287387" sldId="5390"/>
            <ac:spMk id="4" creationId="{A7BBAC7A-1938-7A23-3F26-704822623792}"/>
          </ac:spMkLst>
        </pc:spChg>
        <pc:spChg chg="add mod ord">
          <ac:chgData name="Doerfler, Lena" userId="aeb0559f-200d-4a58-9e6d-125e1b704bf8" providerId="ADAL" clId="{2F42D7B1-B962-445E-8485-41980C3AF6B0}" dt="2023-02-27T15:38:26.863" v="3065"/>
          <ac:spMkLst>
            <pc:docMk/>
            <pc:sldMk cId="324287387" sldId="5390"/>
            <ac:spMk id="5" creationId="{5CB89233-7B44-B1AB-4949-AE8B27B8296C}"/>
          </ac:spMkLst>
        </pc:spChg>
        <pc:spChg chg="add del mod ord">
          <ac:chgData name="Doerfler, Lena" userId="aeb0559f-200d-4a58-9e6d-125e1b704bf8" providerId="ADAL" clId="{2F42D7B1-B962-445E-8485-41980C3AF6B0}" dt="2023-02-27T15:38:29.066" v="3066" actId="478"/>
          <ac:spMkLst>
            <pc:docMk/>
            <pc:sldMk cId="324287387" sldId="5390"/>
            <ac:spMk id="7" creationId="{ED8064E5-19B7-B45F-4238-C0BF26348611}"/>
          </ac:spMkLst>
        </pc:spChg>
        <pc:spChg chg="add mod ord">
          <ac:chgData name="Doerfler, Lena" userId="aeb0559f-200d-4a58-9e6d-125e1b704bf8" providerId="ADAL" clId="{2F42D7B1-B962-445E-8485-41980C3AF6B0}" dt="2023-02-28T09:29:58.995" v="4270" actId="20577"/>
          <ac:spMkLst>
            <pc:docMk/>
            <pc:sldMk cId="324287387" sldId="5390"/>
            <ac:spMk id="9" creationId="{F9E7E03D-88EB-344B-A0C5-B026CEBB1E5E}"/>
          </ac:spMkLst>
        </pc:spChg>
        <pc:spChg chg="mod ord">
          <ac:chgData name="Doerfler, Lena" userId="aeb0559f-200d-4a58-9e6d-125e1b704bf8" providerId="ADAL" clId="{2F42D7B1-B962-445E-8485-41980C3AF6B0}" dt="2023-02-27T15:38:26.863" v="3065"/>
          <ac:spMkLst>
            <pc:docMk/>
            <pc:sldMk cId="324287387" sldId="5390"/>
            <ac:spMk id="16" creationId="{D83076B2-99C8-49A0-8F39-42B899B48F92}"/>
          </ac:spMkLst>
        </pc:spChg>
        <pc:spChg chg="mod ord">
          <ac:chgData name="Doerfler, Lena" userId="aeb0559f-200d-4a58-9e6d-125e1b704bf8" providerId="ADAL" clId="{2F42D7B1-B962-445E-8485-41980C3AF6B0}" dt="2023-02-27T15:38:26.863" v="3065"/>
          <ac:spMkLst>
            <pc:docMk/>
            <pc:sldMk cId="324287387" sldId="5390"/>
            <ac:spMk id="24" creationId="{1980FE84-70D1-4515-A550-38856F2A97E8}"/>
          </ac:spMkLst>
        </pc:spChg>
        <pc:spChg chg="mod ord">
          <ac:chgData name="Doerfler, Lena" userId="aeb0559f-200d-4a58-9e6d-125e1b704bf8" providerId="ADAL" clId="{2F42D7B1-B962-445E-8485-41980C3AF6B0}" dt="2023-02-27T15:38:26.863" v="3065"/>
          <ac:spMkLst>
            <pc:docMk/>
            <pc:sldMk cId="324287387" sldId="5390"/>
            <ac:spMk id="29" creationId="{BA62EF2F-02F2-4132-AC10-0362D98F6B6B}"/>
          </ac:spMkLst>
        </pc:spChg>
        <pc:spChg chg="mod">
          <ac:chgData name="Doerfler, Lena" userId="aeb0559f-200d-4a58-9e6d-125e1b704bf8" providerId="ADAL" clId="{2F42D7B1-B962-445E-8485-41980C3AF6B0}" dt="2023-02-27T15:37:40.397" v="2794" actId="790"/>
          <ac:spMkLst>
            <pc:docMk/>
            <pc:sldMk cId="324287387" sldId="5390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2-27T15:37:40.377" v="2789" actId="790"/>
          <ac:spMkLst>
            <pc:docMk/>
            <pc:sldMk cId="324287387" sldId="5390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2-27T15:37:40.387" v="2790" actId="790"/>
          <ac:spMkLst>
            <pc:docMk/>
            <pc:sldMk cId="324287387" sldId="5390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2-27T15:37:40.387" v="2791" actId="790"/>
          <ac:spMkLst>
            <pc:docMk/>
            <pc:sldMk cId="324287387" sldId="5390"/>
            <ac:spMk id="48" creationId="{824CA2A5-3CDE-4BFB-BE42-7943336893D4}"/>
          </ac:spMkLst>
        </pc:spChg>
        <pc:spChg chg="mod">
          <ac:chgData name="Doerfler, Lena" userId="aeb0559f-200d-4a58-9e6d-125e1b704bf8" providerId="ADAL" clId="{2F42D7B1-B962-445E-8485-41980C3AF6B0}" dt="2023-02-27T15:37:40.399" v="2795" actId="790"/>
          <ac:spMkLst>
            <pc:docMk/>
            <pc:sldMk cId="324287387" sldId="5390"/>
            <ac:spMk id="49" creationId="{DCDE3585-53B9-400F-A6E6-6D3051B8FE3E}"/>
          </ac:spMkLst>
        </pc:spChg>
        <pc:spChg chg="mod">
          <ac:chgData name="Doerfler, Lena" userId="aeb0559f-200d-4a58-9e6d-125e1b704bf8" providerId="ADAL" clId="{2F42D7B1-B962-445E-8485-41980C3AF6B0}" dt="2023-02-27T15:37:40.387" v="2792" actId="790"/>
          <ac:spMkLst>
            <pc:docMk/>
            <pc:sldMk cId="324287387" sldId="5390"/>
            <ac:spMk id="50" creationId="{77D819D9-9ACA-43B9-9E35-63FEDEDBD01D}"/>
          </ac:spMkLst>
        </pc:spChg>
        <pc:spChg chg="mod">
          <ac:chgData name="Doerfler, Lena" userId="aeb0559f-200d-4a58-9e6d-125e1b704bf8" providerId="ADAL" clId="{2F42D7B1-B962-445E-8485-41980C3AF6B0}" dt="2023-02-27T15:37:40.409" v="2798" actId="790"/>
          <ac:spMkLst>
            <pc:docMk/>
            <pc:sldMk cId="324287387" sldId="5390"/>
            <ac:spMk id="52" creationId="{51AF0FC1-664A-4D6B-AB55-4A6B79A28B8D}"/>
          </ac:spMkLst>
        </pc:spChg>
        <pc:spChg chg="mod">
          <ac:chgData name="Doerfler, Lena" userId="aeb0559f-200d-4a58-9e6d-125e1b704bf8" providerId="ADAL" clId="{2F42D7B1-B962-445E-8485-41980C3AF6B0}" dt="2023-02-27T15:37:40.399" v="2797" actId="790"/>
          <ac:spMkLst>
            <pc:docMk/>
            <pc:sldMk cId="324287387" sldId="5390"/>
            <ac:spMk id="53" creationId="{E84F1484-ADCE-4551-88CB-CA141074ED40}"/>
          </ac:spMkLst>
        </pc:spChg>
        <pc:spChg chg="mod">
          <ac:chgData name="Doerfler, Lena" userId="aeb0559f-200d-4a58-9e6d-125e1b704bf8" providerId="ADAL" clId="{2F42D7B1-B962-445E-8485-41980C3AF6B0}" dt="2023-02-27T15:37:40.399" v="2796" actId="790"/>
          <ac:spMkLst>
            <pc:docMk/>
            <pc:sldMk cId="324287387" sldId="5390"/>
            <ac:spMk id="72" creationId="{0BF01852-F4AA-4E4E-82E2-F189C8308B6E}"/>
          </ac:spMkLst>
        </pc:spChg>
        <pc:spChg chg="mod">
          <ac:chgData name="Doerfler, Lena" userId="aeb0559f-200d-4a58-9e6d-125e1b704bf8" providerId="ADAL" clId="{2F42D7B1-B962-445E-8485-41980C3AF6B0}" dt="2023-02-27T15:37:40.387" v="2793" actId="790"/>
          <ac:spMkLst>
            <pc:docMk/>
            <pc:sldMk cId="324287387" sldId="5390"/>
            <ac:spMk id="75" creationId="{86E4ABC5-D012-4113-86CA-45BAE3E7E9AA}"/>
          </ac:spMkLst>
        </pc:spChg>
        <pc:spChg chg="mod">
          <ac:chgData name="Doerfler, Lena" userId="aeb0559f-200d-4a58-9e6d-125e1b704bf8" providerId="ADAL" clId="{2F42D7B1-B962-445E-8485-41980C3AF6B0}" dt="2023-02-27T15:48:17.244" v="3071" actId="20577"/>
          <ac:spMkLst>
            <pc:docMk/>
            <pc:sldMk cId="324287387" sldId="5390"/>
            <ac:spMk id="86" creationId="{46CAB518-9482-4C59-BE50-3C13FAA66C3B}"/>
          </ac:spMkLst>
        </pc:spChg>
        <pc:spChg chg="mod">
          <ac:chgData name="Doerfler, Lena" userId="aeb0559f-200d-4a58-9e6d-125e1b704bf8" providerId="ADAL" clId="{2F42D7B1-B962-445E-8485-41980C3AF6B0}" dt="2023-02-27T15:37:40.409" v="2800" actId="790"/>
          <ac:spMkLst>
            <pc:docMk/>
            <pc:sldMk cId="324287387" sldId="5390"/>
            <ac:spMk id="89" creationId="{2D96F1B3-013E-F5C7-67CB-D5AF7D89CBAA}"/>
          </ac:spMkLst>
        </pc:spChg>
        <pc:spChg chg="mod">
          <ac:chgData name="Doerfler, Lena" userId="aeb0559f-200d-4a58-9e6d-125e1b704bf8" providerId="ADAL" clId="{2F42D7B1-B962-445E-8485-41980C3AF6B0}" dt="2023-02-27T15:37:40.377" v="2785" actId="790"/>
          <ac:spMkLst>
            <pc:docMk/>
            <pc:sldMk cId="324287387" sldId="5390"/>
            <ac:spMk id="93" creationId="{4B8B34FB-BE0A-41CC-9ED7-8A4D955358B2}"/>
          </ac:spMkLst>
        </pc:spChg>
        <pc:spChg chg="mod">
          <ac:chgData name="Doerfler, Lena" userId="aeb0559f-200d-4a58-9e6d-125e1b704bf8" providerId="ADAL" clId="{2F42D7B1-B962-445E-8485-41980C3AF6B0}" dt="2023-02-27T15:37:40.377" v="2786" actId="790"/>
          <ac:spMkLst>
            <pc:docMk/>
            <pc:sldMk cId="324287387" sldId="5390"/>
            <ac:spMk id="95" creationId="{0F684D99-F0A9-4CD5-BFF8-58063E153CF8}"/>
          </ac:spMkLst>
        </pc:spChg>
        <pc:spChg chg="mod">
          <ac:chgData name="Doerfler, Lena" userId="aeb0559f-200d-4a58-9e6d-125e1b704bf8" providerId="ADAL" clId="{2F42D7B1-B962-445E-8485-41980C3AF6B0}" dt="2023-02-27T15:37:40.377" v="2787" actId="790"/>
          <ac:spMkLst>
            <pc:docMk/>
            <pc:sldMk cId="324287387" sldId="5390"/>
            <ac:spMk id="101" creationId="{7A5202D9-447D-496D-9515-1DECDFE8A56B}"/>
          </ac:spMkLst>
        </pc:spChg>
        <pc:spChg chg="mod">
          <ac:chgData name="Doerfler, Lena" userId="aeb0559f-200d-4a58-9e6d-125e1b704bf8" providerId="ADAL" clId="{2F42D7B1-B962-445E-8485-41980C3AF6B0}" dt="2023-02-27T15:37:40.377" v="2788" actId="790"/>
          <ac:spMkLst>
            <pc:docMk/>
            <pc:sldMk cId="324287387" sldId="5390"/>
            <ac:spMk id="102" creationId="{81D11542-C8C9-438B-93D2-CFD2AB6D4FDF}"/>
          </ac:spMkLst>
        </pc:spChg>
        <pc:picChg chg="mod">
          <ac:chgData name="Doerfler, Lena" userId="aeb0559f-200d-4a58-9e6d-125e1b704bf8" providerId="ADAL" clId="{2F42D7B1-B962-445E-8485-41980C3AF6B0}" dt="2023-02-28T12:54:13.386" v="5154" actId="207"/>
          <ac:picMkLst>
            <pc:docMk/>
            <pc:sldMk cId="324287387" sldId="5390"/>
            <ac:picMk id="25" creationId="{43266FE7-07B3-C1BB-894E-5E66127D0B1E}"/>
          </ac:picMkLst>
        </pc:picChg>
        <pc:picChg chg="mod">
          <ac:chgData name="Doerfler, Lena" userId="aeb0559f-200d-4a58-9e6d-125e1b704bf8" providerId="ADAL" clId="{2F42D7B1-B962-445E-8485-41980C3AF6B0}" dt="2023-02-28T12:54:05.837" v="5153" actId="207"/>
          <ac:picMkLst>
            <pc:docMk/>
            <pc:sldMk cId="324287387" sldId="5390"/>
            <ac:picMk id="26" creationId="{3D2C0374-021E-B508-6A33-BFBF293D1616}"/>
          </ac:picMkLst>
        </pc:picChg>
        <pc:picChg chg="mod">
          <ac:chgData name="Doerfler, Lena" userId="aeb0559f-200d-4a58-9e6d-125e1b704bf8" providerId="ADAL" clId="{2F42D7B1-B962-445E-8485-41980C3AF6B0}" dt="2023-02-28T12:54:19.217" v="5155" actId="207"/>
          <ac:picMkLst>
            <pc:docMk/>
            <pc:sldMk cId="324287387" sldId="5390"/>
            <ac:picMk id="83" creationId="{CEE82639-D8FA-358E-E8D1-9EF1BE515363}"/>
          </ac:picMkLst>
        </pc:picChg>
      </pc:sldChg>
      <pc:sldChg chg="add del">
        <pc:chgData name="Doerfler, Lena" userId="aeb0559f-200d-4a58-9e6d-125e1b704bf8" providerId="ADAL" clId="{2F42D7B1-B962-445E-8485-41980C3AF6B0}" dt="2023-02-27T15:31:35.564" v="125" actId="47"/>
        <pc:sldMkLst>
          <pc:docMk/>
          <pc:sldMk cId="2159070147" sldId="5391"/>
        </pc:sldMkLst>
      </pc:sldChg>
      <pc:sldChg chg="addSp delSp modSp add del mod modAnim chgLayout modNotes">
        <pc:chgData name="Doerfler, Lena" userId="aeb0559f-200d-4a58-9e6d-125e1b704bf8" providerId="ADAL" clId="{2F42D7B1-B962-445E-8485-41980C3AF6B0}" dt="2023-03-01T14:15:16.048" v="6890" actId="2696"/>
        <pc:sldMkLst>
          <pc:docMk/>
          <pc:sldMk cId="982129577" sldId="5392"/>
        </pc:sldMkLst>
        <pc:spChg chg="add del mod">
          <ac:chgData name="Doerfler, Lena" userId="aeb0559f-200d-4a58-9e6d-125e1b704bf8" providerId="ADAL" clId="{2F42D7B1-B962-445E-8485-41980C3AF6B0}" dt="2023-02-27T15:37:19.626" v="2509"/>
          <ac:spMkLst>
            <pc:docMk/>
            <pc:sldMk cId="982129577" sldId="5392"/>
            <ac:spMk id="2" creationId="{BB2B6817-3C5F-4950-21F2-B9E82B28593B}"/>
          </ac:spMkLst>
        </pc:spChg>
        <pc:spChg chg="del mod">
          <ac:chgData name="Doerfler, Lena" userId="aeb0559f-200d-4a58-9e6d-125e1b704bf8" providerId="ADAL" clId="{2F42D7B1-B962-445E-8485-41980C3AF6B0}" dt="2023-02-27T15:36:41.179" v="1870"/>
          <ac:spMkLst>
            <pc:docMk/>
            <pc:sldMk cId="982129577" sldId="5392"/>
            <ac:spMk id="3" creationId="{7E2F4899-FD78-4FDE-9B95-22714E6E6F2F}"/>
          </ac:spMkLst>
        </pc:spChg>
        <pc:spChg chg="add del mod">
          <ac:chgData name="Doerfler, Lena" userId="aeb0559f-200d-4a58-9e6d-125e1b704bf8" providerId="ADAL" clId="{2F42D7B1-B962-445E-8485-41980C3AF6B0}" dt="2023-02-27T15:37:41.259" v="3016"/>
          <ac:spMkLst>
            <pc:docMk/>
            <pc:sldMk cId="982129577" sldId="5392"/>
            <ac:spMk id="4" creationId="{133141F5-F5B4-AF2C-2AB1-7F7CF498790F}"/>
          </ac:spMkLst>
        </pc:spChg>
        <pc:spChg chg="add mod ord">
          <ac:chgData name="Doerfler, Lena" userId="aeb0559f-200d-4a58-9e6d-125e1b704bf8" providerId="ADAL" clId="{2F42D7B1-B962-445E-8485-41980C3AF6B0}" dt="2023-02-27T15:38:09.683" v="3059"/>
          <ac:spMkLst>
            <pc:docMk/>
            <pc:sldMk cId="982129577" sldId="5392"/>
            <ac:spMk id="5" creationId="{338D1820-88CE-638B-3A23-990E509CA5B2}"/>
          </ac:spMkLst>
        </pc:spChg>
        <pc:spChg chg="add del mod ord">
          <ac:chgData name="Doerfler, Lena" userId="aeb0559f-200d-4a58-9e6d-125e1b704bf8" providerId="ADAL" clId="{2F42D7B1-B962-445E-8485-41980C3AF6B0}" dt="2023-02-27T15:38:12.733" v="3060" actId="478"/>
          <ac:spMkLst>
            <pc:docMk/>
            <pc:sldMk cId="982129577" sldId="5392"/>
            <ac:spMk id="7" creationId="{1DEC7EB7-3D80-A8AD-25E5-A4E6F4F7E6FC}"/>
          </ac:spMkLst>
        </pc:spChg>
        <pc:spChg chg="add mod ord">
          <ac:chgData name="Doerfler, Lena" userId="aeb0559f-200d-4a58-9e6d-125e1b704bf8" providerId="ADAL" clId="{2F42D7B1-B962-445E-8485-41980C3AF6B0}" dt="2023-02-28T09:29:49.538" v="4266" actId="20577"/>
          <ac:spMkLst>
            <pc:docMk/>
            <pc:sldMk cId="982129577" sldId="5392"/>
            <ac:spMk id="8" creationId="{FA837AF0-DD98-41C6-4768-E3F5C67CF485}"/>
          </ac:spMkLst>
        </pc:spChg>
        <pc:spChg chg="mod ord">
          <ac:chgData name="Doerfler, Lena" userId="aeb0559f-200d-4a58-9e6d-125e1b704bf8" providerId="ADAL" clId="{2F42D7B1-B962-445E-8485-41980C3AF6B0}" dt="2023-02-27T15:38:09.683" v="3059"/>
          <ac:spMkLst>
            <pc:docMk/>
            <pc:sldMk cId="982129577" sldId="5392"/>
            <ac:spMk id="16" creationId="{D83076B2-99C8-49A0-8F39-42B899B48F92}"/>
          </ac:spMkLst>
        </pc:spChg>
        <pc:spChg chg="mod ord">
          <ac:chgData name="Doerfler, Lena" userId="aeb0559f-200d-4a58-9e6d-125e1b704bf8" providerId="ADAL" clId="{2F42D7B1-B962-445E-8485-41980C3AF6B0}" dt="2023-02-27T15:38:09.683" v="3059"/>
          <ac:spMkLst>
            <pc:docMk/>
            <pc:sldMk cId="982129577" sldId="5392"/>
            <ac:spMk id="24" creationId="{1980FE84-70D1-4515-A550-38856F2A97E8}"/>
          </ac:spMkLst>
        </pc:spChg>
        <pc:spChg chg="mod ord">
          <ac:chgData name="Doerfler, Lena" userId="aeb0559f-200d-4a58-9e6d-125e1b704bf8" providerId="ADAL" clId="{2F42D7B1-B962-445E-8485-41980C3AF6B0}" dt="2023-02-27T15:38:09.683" v="3059"/>
          <ac:spMkLst>
            <pc:docMk/>
            <pc:sldMk cId="982129577" sldId="5392"/>
            <ac:spMk id="29" creationId="{BA62EF2F-02F2-4132-AC10-0362D98F6B6B}"/>
          </ac:spMkLst>
        </pc:spChg>
        <pc:spChg chg="mod">
          <ac:chgData name="Doerfler, Lena" userId="aeb0559f-200d-4a58-9e6d-125e1b704bf8" providerId="ADAL" clId="{2F42D7B1-B962-445E-8485-41980C3AF6B0}" dt="2023-02-27T15:37:40.243" v="2714" actId="790"/>
          <ac:spMkLst>
            <pc:docMk/>
            <pc:sldMk cId="982129577" sldId="5392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2-27T15:37:40.226" v="2709" actId="790"/>
          <ac:spMkLst>
            <pc:docMk/>
            <pc:sldMk cId="982129577" sldId="5392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2-27T15:37:40.233" v="2710" actId="790"/>
          <ac:spMkLst>
            <pc:docMk/>
            <pc:sldMk cId="982129577" sldId="5392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2-27T15:37:40.233" v="2711" actId="790"/>
          <ac:spMkLst>
            <pc:docMk/>
            <pc:sldMk cId="982129577" sldId="5392"/>
            <ac:spMk id="48" creationId="{824CA2A5-3CDE-4BFB-BE42-7943336893D4}"/>
          </ac:spMkLst>
        </pc:spChg>
        <pc:spChg chg="del">
          <ac:chgData name="Doerfler, Lena" userId="aeb0559f-200d-4a58-9e6d-125e1b704bf8" providerId="ADAL" clId="{2F42D7B1-B962-445E-8485-41980C3AF6B0}" dt="2023-02-27T15:31:40.549" v="126" actId="478"/>
          <ac:spMkLst>
            <pc:docMk/>
            <pc:sldMk cId="982129577" sldId="5392"/>
            <ac:spMk id="49" creationId="{DCDE3585-53B9-400F-A6E6-6D3051B8FE3E}"/>
          </ac:spMkLst>
        </pc:spChg>
        <pc:spChg chg="mod">
          <ac:chgData name="Doerfler, Lena" userId="aeb0559f-200d-4a58-9e6d-125e1b704bf8" providerId="ADAL" clId="{2F42D7B1-B962-445E-8485-41980C3AF6B0}" dt="2023-02-27T15:37:40.233" v="2712" actId="790"/>
          <ac:spMkLst>
            <pc:docMk/>
            <pc:sldMk cId="982129577" sldId="5392"/>
            <ac:spMk id="50" creationId="{77D819D9-9ACA-43B9-9E35-63FEDEDBD01D}"/>
          </ac:spMkLst>
        </pc:spChg>
        <pc:spChg chg="mod">
          <ac:chgData name="Doerfler, Lena" userId="aeb0559f-200d-4a58-9e6d-125e1b704bf8" providerId="ADAL" clId="{2F42D7B1-B962-445E-8485-41980C3AF6B0}" dt="2023-02-27T15:37:40.243" v="2713" actId="790"/>
          <ac:spMkLst>
            <pc:docMk/>
            <pc:sldMk cId="982129577" sldId="5392"/>
            <ac:spMk id="75" creationId="{86E4ABC5-D012-4113-86CA-45BAE3E7E9AA}"/>
          </ac:spMkLst>
        </pc:spChg>
        <pc:spChg chg="mod">
          <ac:chgData name="Doerfler, Lena" userId="aeb0559f-200d-4a58-9e6d-125e1b704bf8" providerId="ADAL" clId="{2F42D7B1-B962-445E-8485-41980C3AF6B0}" dt="2023-02-27T15:37:40.226" v="2706" actId="790"/>
          <ac:spMkLst>
            <pc:docMk/>
            <pc:sldMk cId="982129577" sldId="5392"/>
            <ac:spMk id="93" creationId="{4B8B34FB-BE0A-41CC-9ED7-8A4D955358B2}"/>
          </ac:spMkLst>
        </pc:spChg>
        <pc:spChg chg="mod">
          <ac:chgData name="Doerfler, Lena" userId="aeb0559f-200d-4a58-9e6d-125e1b704bf8" providerId="ADAL" clId="{2F42D7B1-B962-445E-8485-41980C3AF6B0}" dt="2023-02-27T15:37:40.226" v="2707" actId="790"/>
          <ac:spMkLst>
            <pc:docMk/>
            <pc:sldMk cId="982129577" sldId="5392"/>
            <ac:spMk id="95" creationId="{0F684D99-F0A9-4CD5-BFF8-58063E153CF8}"/>
          </ac:spMkLst>
        </pc:spChg>
        <pc:spChg chg="del">
          <ac:chgData name="Doerfler, Lena" userId="aeb0559f-200d-4a58-9e6d-125e1b704bf8" providerId="ADAL" clId="{2F42D7B1-B962-445E-8485-41980C3AF6B0}" dt="2023-02-27T15:31:40.549" v="126" actId="478"/>
          <ac:spMkLst>
            <pc:docMk/>
            <pc:sldMk cId="982129577" sldId="5392"/>
            <ac:spMk id="101" creationId="{7A5202D9-447D-496D-9515-1DECDFE8A56B}"/>
          </ac:spMkLst>
        </pc:spChg>
        <pc:spChg chg="mod">
          <ac:chgData name="Doerfler, Lena" userId="aeb0559f-200d-4a58-9e6d-125e1b704bf8" providerId="ADAL" clId="{2F42D7B1-B962-445E-8485-41980C3AF6B0}" dt="2023-02-27T15:37:40.226" v="2708" actId="790"/>
          <ac:spMkLst>
            <pc:docMk/>
            <pc:sldMk cId="982129577" sldId="5392"/>
            <ac:spMk id="102" creationId="{81D11542-C8C9-438B-93D2-CFD2AB6D4FDF}"/>
          </ac:spMkLst>
        </pc:spChg>
        <pc:grpChg chg="del">
          <ac:chgData name="Doerfler, Lena" userId="aeb0559f-200d-4a58-9e6d-125e1b704bf8" providerId="ADAL" clId="{2F42D7B1-B962-445E-8485-41980C3AF6B0}" dt="2023-02-27T15:31:40.549" v="126" actId="478"/>
          <ac:grpSpMkLst>
            <pc:docMk/>
            <pc:sldMk cId="982129577" sldId="5392"/>
            <ac:grpSpMk id="70" creationId="{319DBD7E-51CE-4C66-A921-8DDF65363565}"/>
          </ac:grpSpMkLst>
        </pc:grpChg>
        <pc:picChg chg="del">
          <ac:chgData name="Doerfler, Lena" userId="aeb0559f-200d-4a58-9e6d-125e1b704bf8" providerId="ADAL" clId="{2F42D7B1-B962-445E-8485-41980C3AF6B0}" dt="2023-02-27T15:31:40.549" v="126" actId="478"/>
          <ac:picMkLst>
            <pc:docMk/>
            <pc:sldMk cId="982129577" sldId="5392"/>
            <ac:picMk id="21" creationId="{CE5F9446-5776-D157-349A-C5FB7A40701A}"/>
          </ac:picMkLst>
        </pc:picChg>
      </pc:sldChg>
      <pc:sldChg chg="addSp delSp modSp new add del mod modNotes">
        <pc:chgData name="Doerfler, Lena" userId="aeb0559f-200d-4a58-9e6d-125e1b704bf8" providerId="ADAL" clId="{2F42D7B1-B962-445E-8485-41980C3AF6B0}" dt="2023-03-01T14:15:16.123" v="6893" actId="2696"/>
        <pc:sldMkLst>
          <pc:docMk/>
          <pc:sldMk cId="3063983923" sldId="5393"/>
        </pc:sldMkLst>
        <pc:spChg chg="mod ord">
          <ac:chgData name="Doerfler, Lena" userId="aeb0559f-200d-4a58-9e6d-125e1b704bf8" providerId="ADAL" clId="{2F42D7B1-B962-445E-8485-41980C3AF6B0}" dt="2023-02-28T12:28:02.837" v="4729"/>
          <ac:spMkLst>
            <pc:docMk/>
            <pc:sldMk cId="3063983923" sldId="5393"/>
            <ac:spMk id="2" creationId="{D1F591FE-778F-4B00-BDAD-D4EF15D17F41}"/>
          </ac:spMkLst>
        </pc:spChg>
        <pc:spChg chg="del mod">
          <ac:chgData name="Doerfler, Lena" userId="aeb0559f-200d-4a58-9e6d-125e1b704bf8" providerId="ADAL" clId="{2F42D7B1-B962-445E-8485-41980C3AF6B0}" dt="2023-02-28T12:17:30.755" v="4416" actId="478"/>
          <ac:spMkLst>
            <pc:docMk/>
            <pc:sldMk cId="3063983923" sldId="5393"/>
            <ac:spMk id="3" creationId="{5D7CC457-7225-1C6B-D1F7-D7C75D8E9C3C}"/>
          </ac:spMkLst>
        </pc:spChg>
        <pc:spChg chg="add del mod">
          <ac:chgData name="Doerfler, Lena" userId="aeb0559f-200d-4a58-9e6d-125e1b704bf8" providerId="ADAL" clId="{2F42D7B1-B962-445E-8485-41980C3AF6B0}" dt="2023-02-28T12:27:05.213" v="4563" actId="478"/>
          <ac:spMkLst>
            <pc:docMk/>
            <pc:sldMk cId="3063983923" sldId="5393"/>
            <ac:spMk id="3" creationId="{D49CC83B-1A77-5F19-6D69-36DFB8E28125}"/>
          </ac:spMkLst>
        </pc:spChg>
        <pc:spChg chg="mod ord">
          <ac:chgData name="Doerfler, Lena" userId="aeb0559f-200d-4a58-9e6d-125e1b704bf8" providerId="ADAL" clId="{2F42D7B1-B962-445E-8485-41980C3AF6B0}" dt="2023-02-28T12:28:02.837" v="4731"/>
          <ac:spMkLst>
            <pc:docMk/>
            <pc:sldMk cId="3063983923" sldId="5393"/>
            <ac:spMk id="4" creationId="{B7D3AAB9-5600-8200-036D-1A4E2AA82FA6}"/>
          </ac:spMkLst>
        </pc:spChg>
        <pc:spChg chg="add del mod modVis">
          <ac:chgData name="Doerfler, Lena" userId="aeb0559f-200d-4a58-9e6d-125e1b704bf8" providerId="ADAL" clId="{2F42D7B1-B962-445E-8485-41980C3AF6B0}" dt="2023-02-28T12:27:12.535" v="4637"/>
          <ac:spMkLst>
            <pc:docMk/>
            <pc:sldMk cId="3063983923" sldId="5393"/>
            <ac:spMk id="5" creationId="{0F4022DF-7F1B-1936-113F-54330CEB53A3}"/>
          </ac:spMkLst>
        </pc:spChg>
        <pc:spChg chg="add del mod modVis">
          <ac:chgData name="Doerfler, Lena" userId="aeb0559f-200d-4a58-9e6d-125e1b704bf8" providerId="ADAL" clId="{2F42D7B1-B962-445E-8485-41980C3AF6B0}" dt="2023-02-28T12:16:49.114" v="4331"/>
          <ac:spMkLst>
            <pc:docMk/>
            <pc:sldMk cId="3063983923" sldId="5393"/>
            <ac:spMk id="5" creationId="{5D13ACF9-6A09-D3AE-1899-CFB8293082F2}"/>
          </ac:spMkLst>
        </pc:spChg>
        <pc:spChg chg="del mod">
          <ac:chgData name="Doerfler, Lena" userId="aeb0559f-200d-4a58-9e6d-125e1b704bf8" providerId="ADAL" clId="{2F42D7B1-B962-445E-8485-41980C3AF6B0}" dt="2023-02-27T15:36:41.209" v="1885"/>
          <ac:spMkLst>
            <pc:docMk/>
            <pc:sldMk cId="3063983923" sldId="5393"/>
            <ac:spMk id="5" creationId="{BADE24AF-6352-CFC2-EF8A-7A7B99FF4B91}"/>
          </ac:spMkLst>
        </pc:spChg>
        <pc:spChg chg="mod ord">
          <ac:chgData name="Doerfler, Lena" userId="aeb0559f-200d-4a58-9e6d-125e1b704bf8" providerId="ADAL" clId="{2F42D7B1-B962-445E-8485-41980C3AF6B0}" dt="2023-02-28T12:28:02.838" v="4733"/>
          <ac:spMkLst>
            <pc:docMk/>
            <pc:sldMk cId="3063983923" sldId="5393"/>
            <ac:spMk id="6" creationId="{042501E0-5CA0-D5DE-847E-7C15B75E0971}"/>
          </ac:spMkLst>
        </pc:spChg>
        <pc:spChg chg="mod ord">
          <ac:chgData name="Doerfler, Lena" userId="aeb0559f-200d-4a58-9e6d-125e1b704bf8" providerId="ADAL" clId="{2F42D7B1-B962-445E-8485-41980C3AF6B0}" dt="2023-02-28T12:28:02.838" v="4735"/>
          <ac:spMkLst>
            <pc:docMk/>
            <pc:sldMk cId="3063983923" sldId="5393"/>
            <ac:spMk id="7" creationId="{5F1E6C8E-C6B6-A8BB-B6EC-9970CB9CF2EE}"/>
          </ac:spMkLst>
        </pc:spChg>
        <pc:spChg chg="add del mod modVis">
          <ac:chgData name="Doerfler, Lena" userId="aeb0559f-200d-4a58-9e6d-125e1b704bf8" providerId="ADAL" clId="{2F42D7B1-B962-445E-8485-41980C3AF6B0}" dt="2023-02-27T15:31:56.293" v="202"/>
          <ac:spMkLst>
            <pc:docMk/>
            <pc:sldMk cId="3063983923" sldId="5393"/>
            <ac:spMk id="9" creationId="{6D50DCD2-7646-1A7F-DBDC-F910BF99FF35}"/>
          </ac:spMkLst>
        </pc:spChg>
        <pc:spChg chg="add del mod modVis">
          <ac:chgData name="Doerfler, Lena" userId="aeb0559f-200d-4a58-9e6d-125e1b704bf8" providerId="ADAL" clId="{2F42D7B1-B962-445E-8485-41980C3AF6B0}" dt="2023-02-28T12:16:50.172" v="4378"/>
          <ac:spMkLst>
            <pc:docMk/>
            <pc:sldMk cId="3063983923" sldId="5393"/>
            <ac:spMk id="9" creationId="{B88BCF39-4B51-5845-30D0-DE448D356981}"/>
          </ac:spMkLst>
        </pc:spChg>
        <pc:spChg chg="add del mod modVis">
          <ac:chgData name="Doerfler, Lena" userId="aeb0559f-200d-4a58-9e6d-125e1b704bf8" providerId="ADAL" clId="{2F42D7B1-B962-445E-8485-41980C3AF6B0}" dt="2023-02-27T15:32:36.163" v="450"/>
          <ac:spMkLst>
            <pc:docMk/>
            <pc:sldMk cId="3063983923" sldId="5393"/>
            <ac:spMk id="10" creationId="{01BC35CF-0451-526B-2087-106EE7D39307}"/>
          </ac:spMkLst>
        </pc:spChg>
        <pc:spChg chg="add del mod">
          <ac:chgData name="Doerfler, Lena" userId="aeb0559f-200d-4a58-9e6d-125e1b704bf8" providerId="ADAL" clId="{2F42D7B1-B962-445E-8485-41980C3AF6B0}" dt="2023-02-27T15:37:19.659" v="2524"/>
          <ac:spMkLst>
            <pc:docMk/>
            <pc:sldMk cId="3063983923" sldId="5393"/>
            <ac:spMk id="11" creationId="{7DEF533E-D862-C34D-22CF-08174DA41E2D}"/>
          </ac:spMkLst>
        </pc:spChg>
        <pc:spChg chg="add del mod">
          <ac:chgData name="Doerfler, Lena" userId="aeb0559f-200d-4a58-9e6d-125e1b704bf8" providerId="ADAL" clId="{2F42D7B1-B962-445E-8485-41980C3AF6B0}" dt="2023-02-27T15:37:41.288" v="3031"/>
          <ac:spMkLst>
            <pc:docMk/>
            <pc:sldMk cId="3063983923" sldId="5393"/>
            <ac:spMk id="12" creationId="{A2B0FAA9-BACD-2DFF-EE08-2A604D0E4060}"/>
          </ac:spMkLst>
        </pc:spChg>
        <pc:spChg chg="add mod ord">
          <ac:chgData name="Doerfler, Lena" userId="aeb0559f-200d-4a58-9e6d-125e1b704bf8" providerId="ADAL" clId="{2F42D7B1-B962-445E-8485-41980C3AF6B0}" dt="2023-02-28T12:28:02.838" v="4737"/>
          <ac:spMkLst>
            <pc:docMk/>
            <pc:sldMk cId="3063983923" sldId="5393"/>
            <ac:spMk id="13" creationId="{F7BD6392-93AF-49C5-EC2C-B8D0329AE7FF}"/>
          </ac:spMkLst>
        </pc:spChg>
        <pc:spChg chg="add mod ord">
          <ac:chgData name="Doerfler, Lena" userId="aeb0559f-200d-4a58-9e6d-125e1b704bf8" providerId="ADAL" clId="{2F42D7B1-B962-445E-8485-41980C3AF6B0}" dt="2023-02-28T12:28:23.986" v="4767" actId="1076"/>
          <ac:spMkLst>
            <pc:docMk/>
            <pc:sldMk cId="3063983923" sldId="5393"/>
            <ac:spMk id="15" creationId="{1628817F-8C9F-19E6-4B34-B6C92924FD30}"/>
          </ac:spMkLst>
        </pc:spChg>
        <pc:spChg chg="add mod ord">
          <ac:chgData name="Doerfler, Lena" userId="aeb0559f-200d-4a58-9e6d-125e1b704bf8" providerId="ADAL" clId="{2F42D7B1-B962-445E-8485-41980C3AF6B0}" dt="2023-02-28T12:31:38.353" v="4849" actId="1076"/>
          <ac:spMkLst>
            <pc:docMk/>
            <pc:sldMk cId="3063983923" sldId="5393"/>
            <ac:spMk id="17" creationId="{02F7D492-C8A1-D118-65EA-E67CAEDFEB31}"/>
          </ac:spMkLst>
        </pc:spChg>
        <pc:spChg chg="add del mod">
          <ac:chgData name="Doerfler, Lena" userId="aeb0559f-200d-4a58-9e6d-125e1b704bf8" providerId="ADAL" clId="{2F42D7B1-B962-445E-8485-41980C3AF6B0}" dt="2023-02-28T12:27:46.583" v="4720" actId="478"/>
          <ac:spMkLst>
            <pc:docMk/>
            <pc:sldMk cId="3063983923" sldId="5393"/>
            <ac:spMk id="19" creationId="{8EE70F74-8917-7935-BF71-3E0FD601EBB2}"/>
          </ac:spMkLst>
        </pc:spChg>
        <pc:spChg chg="add mod ord">
          <ac:chgData name="Doerfler, Lena" userId="aeb0559f-200d-4a58-9e6d-125e1b704bf8" providerId="ADAL" clId="{2F42D7B1-B962-445E-8485-41980C3AF6B0}" dt="2023-02-28T12:31:08.776" v="4845" actId="1076"/>
          <ac:spMkLst>
            <pc:docMk/>
            <pc:sldMk cId="3063983923" sldId="5393"/>
            <ac:spMk id="21" creationId="{5D5417AD-FCE5-AAC9-89D7-C9112D4D6A98}"/>
          </ac:spMkLst>
        </pc:spChg>
        <pc:spChg chg="add mod ord">
          <ac:chgData name="Doerfler, Lena" userId="aeb0559f-200d-4a58-9e6d-125e1b704bf8" providerId="ADAL" clId="{2F42D7B1-B962-445E-8485-41980C3AF6B0}" dt="2023-02-28T12:30:48.800" v="4819" actId="1076"/>
          <ac:spMkLst>
            <pc:docMk/>
            <pc:sldMk cId="3063983923" sldId="5393"/>
            <ac:spMk id="25" creationId="{95076389-98FA-F04A-A72E-FCEFDCE87DC1}"/>
          </ac:spMkLst>
        </pc:spChg>
        <pc:graphicFrameChg chg="add mod ord modVis replST">
          <ac:chgData name="Doerfler, Lena" userId="aeb0559f-200d-4a58-9e6d-125e1b704bf8" providerId="ADAL" clId="{2F42D7B1-B962-445E-8485-41980C3AF6B0}" dt="2023-02-28T12:28:02.844" v="4759"/>
          <ac:graphicFrameMkLst>
            <pc:docMk/>
            <pc:sldMk cId="3063983923" sldId="5393"/>
            <ac:graphicFrameMk id="8" creationId="{E12F0601-C808-FAE1-968E-C7222DE104F2}"/>
          </ac:graphicFrameMkLst>
        </pc:graphicFrameChg>
        <pc:picChg chg="add del mod">
          <ac:chgData name="Doerfler, Lena" userId="aeb0559f-200d-4a58-9e6d-125e1b704bf8" providerId="ADAL" clId="{2F42D7B1-B962-445E-8485-41980C3AF6B0}" dt="2023-02-28T12:27:43.702" v="4719" actId="478"/>
          <ac:picMkLst>
            <pc:docMk/>
            <pc:sldMk cId="3063983923" sldId="5393"/>
            <ac:picMk id="10" creationId="{82993284-12B4-BBC8-DDA7-5D68F78E26DD}"/>
          </ac:picMkLst>
        </pc:picChg>
        <pc:picChg chg="add del mod">
          <ac:chgData name="Doerfler, Lena" userId="aeb0559f-200d-4a58-9e6d-125e1b704bf8" providerId="ADAL" clId="{2F42D7B1-B962-445E-8485-41980C3AF6B0}" dt="2023-02-28T12:19:47.759" v="4432" actId="478"/>
          <ac:picMkLst>
            <pc:docMk/>
            <pc:sldMk cId="3063983923" sldId="5393"/>
            <ac:picMk id="11" creationId="{D52ABB42-FA9D-FABE-4501-BC5A11661A3A}"/>
          </ac:picMkLst>
        </pc:picChg>
        <pc:picChg chg="add del mod">
          <ac:chgData name="Doerfler, Lena" userId="aeb0559f-200d-4a58-9e6d-125e1b704bf8" providerId="ADAL" clId="{2F42D7B1-B962-445E-8485-41980C3AF6B0}" dt="2023-02-28T12:30:02.099" v="4786" actId="478"/>
          <ac:picMkLst>
            <pc:docMk/>
            <pc:sldMk cId="3063983923" sldId="5393"/>
            <ac:picMk id="12" creationId="{20C77E79-1224-17C8-2BBE-B89D779F3615}"/>
          </ac:picMkLst>
        </pc:picChg>
        <pc:picChg chg="add del mod">
          <ac:chgData name="Doerfler, Lena" userId="aeb0559f-200d-4a58-9e6d-125e1b704bf8" providerId="ADAL" clId="{2F42D7B1-B962-445E-8485-41980C3AF6B0}" dt="2023-02-28T12:30:05.831" v="4789" actId="478"/>
          <ac:picMkLst>
            <pc:docMk/>
            <pc:sldMk cId="3063983923" sldId="5393"/>
            <ac:picMk id="14" creationId="{04E1F098-9EDC-BF61-5210-21D6A1B3120F}"/>
          </ac:picMkLst>
        </pc:picChg>
        <pc:picChg chg="add mod">
          <ac:chgData name="Doerfler, Lena" userId="aeb0559f-200d-4a58-9e6d-125e1b704bf8" providerId="ADAL" clId="{2F42D7B1-B962-445E-8485-41980C3AF6B0}" dt="2023-02-28T12:30:21.781" v="4797" actId="1076"/>
          <ac:picMkLst>
            <pc:docMk/>
            <pc:sldMk cId="3063983923" sldId="5393"/>
            <ac:picMk id="31" creationId="{8FC98A06-5FB6-81DC-CF0F-87DF18C69333}"/>
          </ac:picMkLst>
        </pc:picChg>
        <pc:picChg chg="add mod">
          <ac:chgData name="Doerfler, Lena" userId="aeb0559f-200d-4a58-9e6d-125e1b704bf8" providerId="ADAL" clId="{2F42D7B1-B962-445E-8485-41980C3AF6B0}" dt="2023-02-28T12:30:23.887" v="4798" actId="1076"/>
          <ac:picMkLst>
            <pc:docMk/>
            <pc:sldMk cId="3063983923" sldId="5393"/>
            <ac:picMk id="33" creationId="{86082F9C-FCA5-D670-515F-3EF79041F9CF}"/>
          </ac:picMkLst>
        </pc:picChg>
        <pc:picChg chg="add mod ord">
          <ac:chgData name="Doerfler, Lena" userId="aeb0559f-200d-4a58-9e6d-125e1b704bf8" providerId="ADAL" clId="{2F42D7B1-B962-445E-8485-41980C3AF6B0}" dt="2023-02-28T12:28:58.025" v="4777" actId="208"/>
          <ac:picMkLst>
            <pc:docMk/>
            <pc:sldMk cId="3063983923" sldId="5393"/>
            <ac:picMk id="38" creationId="{24016D96-C451-70E9-63D5-D812D17C710E}"/>
          </ac:picMkLst>
        </pc:picChg>
        <pc:cxnChg chg="add mod ord">
          <ac:chgData name="Doerfler, Lena" userId="aeb0559f-200d-4a58-9e6d-125e1b704bf8" providerId="ADAL" clId="{2F42D7B1-B962-445E-8485-41980C3AF6B0}" dt="2023-02-28T12:28:30.241" v="4770" actId="1076"/>
          <ac:cxnSpMkLst>
            <pc:docMk/>
            <pc:sldMk cId="3063983923" sldId="5393"/>
            <ac:cxnSpMk id="16" creationId="{066548D4-4558-ED85-24C8-841F5558BBAF}"/>
          </ac:cxnSpMkLst>
        </pc:cxnChg>
        <pc:cxnChg chg="add mod ord">
          <ac:chgData name="Doerfler, Lena" userId="aeb0559f-200d-4a58-9e6d-125e1b704bf8" providerId="ADAL" clId="{2F42D7B1-B962-445E-8485-41980C3AF6B0}" dt="2023-02-28T12:31:41.333" v="4850" actId="14100"/>
          <ac:cxnSpMkLst>
            <pc:docMk/>
            <pc:sldMk cId="3063983923" sldId="5393"/>
            <ac:cxnSpMk id="18" creationId="{BA04C56A-FC6F-2127-C4F0-39BC1F59BE85}"/>
          </ac:cxnSpMkLst>
        </pc:cxnChg>
        <pc:cxnChg chg="add del mod ord">
          <ac:chgData name="Doerfler, Lena" userId="aeb0559f-200d-4a58-9e6d-125e1b704bf8" providerId="ADAL" clId="{2F42D7B1-B962-445E-8485-41980C3AF6B0}" dt="2023-02-28T12:30:10.714" v="4791" actId="478"/>
          <ac:cxnSpMkLst>
            <pc:docMk/>
            <pc:sldMk cId="3063983923" sldId="5393"/>
            <ac:cxnSpMk id="22" creationId="{A8DFCF89-CAF6-1E81-79DA-024A8C24F43C}"/>
          </ac:cxnSpMkLst>
        </pc:cxnChg>
        <pc:cxnChg chg="add mod ord">
          <ac:chgData name="Doerfler, Lena" userId="aeb0559f-200d-4a58-9e6d-125e1b704bf8" providerId="ADAL" clId="{2F42D7B1-B962-445E-8485-41980C3AF6B0}" dt="2023-02-28T12:28:02.842" v="4755"/>
          <ac:cxnSpMkLst>
            <pc:docMk/>
            <pc:sldMk cId="3063983923" sldId="5393"/>
            <ac:cxnSpMk id="26" creationId="{14AE77D8-B59C-A1BE-2190-A4D8EF3AE10A}"/>
          </ac:cxnSpMkLst>
        </pc:cxnChg>
        <pc:cxnChg chg="add mod">
          <ac:chgData name="Doerfler, Lena" userId="aeb0559f-200d-4a58-9e6d-125e1b704bf8" providerId="ADAL" clId="{2F42D7B1-B962-445E-8485-41980C3AF6B0}" dt="2023-02-28T12:31:47.201" v="4851" actId="14100"/>
          <ac:cxnSpMkLst>
            <pc:docMk/>
            <pc:sldMk cId="3063983923" sldId="5393"/>
            <ac:cxnSpMk id="34" creationId="{90641BCA-3968-5179-1D2A-88815CE8A40E}"/>
          </ac:cxnSpMkLst>
        </pc:cxnChg>
      </pc:sldChg>
      <pc:sldChg chg="addSp delSp modSp new add del mod modNotes">
        <pc:chgData name="Doerfler, Lena" userId="aeb0559f-200d-4a58-9e6d-125e1b704bf8" providerId="ADAL" clId="{2F42D7B1-B962-445E-8485-41980C3AF6B0}" dt="2023-03-01T14:15:16.181" v="6895" actId="2696"/>
        <pc:sldMkLst>
          <pc:docMk/>
          <pc:sldMk cId="2499343128" sldId="5394"/>
        </pc:sldMkLst>
        <pc:spChg chg="mod">
          <ac:chgData name="Doerfler, Lena" userId="aeb0559f-200d-4a58-9e6d-125e1b704bf8" providerId="ADAL" clId="{2F42D7B1-B962-445E-8485-41980C3AF6B0}" dt="2023-02-27T15:37:40.426" v="2809" actId="790"/>
          <ac:spMkLst>
            <pc:docMk/>
            <pc:sldMk cId="2499343128" sldId="5394"/>
            <ac:spMk id="2" creationId="{793FF0BB-3D97-A013-1F25-BC2915D6CDB9}"/>
          </ac:spMkLst>
        </pc:spChg>
        <pc:spChg chg="mod">
          <ac:chgData name="Doerfler, Lena" userId="aeb0559f-200d-4a58-9e6d-125e1b704bf8" providerId="ADAL" clId="{2F42D7B1-B962-445E-8485-41980C3AF6B0}" dt="2023-02-27T15:37:40.426" v="2810" actId="790"/>
          <ac:spMkLst>
            <pc:docMk/>
            <pc:sldMk cId="2499343128" sldId="5394"/>
            <ac:spMk id="3" creationId="{FCA124A1-9DFE-A2EE-D75F-D167D3D4440F}"/>
          </ac:spMkLst>
        </pc:spChg>
        <pc:spChg chg="mod">
          <ac:chgData name="Doerfler, Lena" userId="aeb0559f-200d-4a58-9e6d-125e1b704bf8" providerId="ADAL" clId="{2F42D7B1-B962-445E-8485-41980C3AF6B0}" dt="2023-02-27T15:37:40.426" v="2811" actId="790"/>
          <ac:spMkLst>
            <pc:docMk/>
            <pc:sldMk cId="2499343128" sldId="5394"/>
            <ac:spMk id="4" creationId="{F2F864BE-5849-4C6F-95E4-DAB0C15478F6}"/>
          </ac:spMkLst>
        </pc:spChg>
        <pc:spChg chg="del mod">
          <ac:chgData name="Doerfler, Lena" userId="aeb0559f-200d-4a58-9e6d-125e1b704bf8" providerId="ADAL" clId="{2F42D7B1-B962-445E-8485-41980C3AF6B0}" dt="2023-02-27T15:36:41.232" v="1895"/>
          <ac:spMkLst>
            <pc:docMk/>
            <pc:sldMk cId="2499343128" sldId="5394"/>
            <ac:spMk id="5" creationId="{E4D0CB99-00D7-1922-C205-92BFF5625105}"/>
          </ac:spMkLst>
        </pc:spChg>
        <pc:spChg chg="mod">
          <ac:chgData name="Doerfler, Lena" userId="aeb0559f-200d-4a58-9e6d-125e1b704bf8" providerId="ADAL" clId="{2F42D7B1-B962-445E-8485-41980C3AF6B0}" dt="2023-02-27T15:37:40.432" v="2812" actId="790"/>
          <ac:spMkLst>
            <pc:docMk/>
            <pc:sldMk cId="2499343128" sldId="5394"/>
            <ac:spMk id="6" creationId="{FB7191FC-C383-B082-6F8F-0B6E5757E959}"/>
          </ac:spMkLst>
        </pc:spChg>
        <pc:spChg chg="mod">
          <ac:chgData name="Doerfler, Lena" userId="aeb0559f-200d-4a58-9e6d-125e1b704bf8" providerId="ADAL" clId="{2F42D7B1-B962-445E-8485-41980C3AF6B0}" dt="2023-02-27T15:37:40.432" v="2813" actId="790"/>
          <ac:spMkLst>
            <pc:docMk/>
            <pc:sldMk cId="2499343128" sldId="5394"/>
            <ac:spMk id="7" creationId="{4756B2CA-1191-BD82-53D3-109196109A93}"/>
          </ac:spMkLst>
        </pc:spChg>
        <pc:spChg chg="add del mod modVis">
          <ac:chgData name="Doerfler, Lena" userId="aeb0559f-200d-4a58-9e6d-125e1b704bf8" providerId="ADAL" clId="{2F42D7B1-B962-445E-8485-41980C3AF6B0}" dt="2023-02-27T15:32:25.392" v="279"/>
          <ac:spMkLst>
            <pc:docMk/>
            <pc:sldMk cId="2499343128" sldId="5394"/>
            <ac:spMk id="8" creationId="{C4029DAE-3992-92B6-F372-B11CF9AC71BD}"/>
          </ac:spMkLst>
        </pc:spChg>
        <pc:spChg chg="add del mod modVis">
          <ac:chgData name="Doerfler, Lena" userId="aeb0559f-200d-4a58-9e6d-125e1b704bf8" providerId="ADAL" clId="{2F42D7B1-B962-445E-8485-41980C3AF6B0}" dt="2023-02-27T15:32:27.432" v="344"/>
          <ac:spMkLst>
            <pc:docMk/>
            <pc:sldMk cId="2499343128" sldId="5394"/>
            <ac:spMk id="10" creationId="{D0E7D055-E7BD-5242-B5EA-5B10030DEB33}"/>
          </ac:spMkLst>
        </pc:spChg>
        <pc:spChg chg="add del mod modVis">
          <ac:chgData name="Doerfler, Lena" userId="aeb0559f-200d-4a58-9e6d-125e1b704bf8" providerId="ADAL" clId="{2F42D7B1-B962-445E-8485-41980C3AF6B0}" dt="2023-02-27T15:32:31.066" v="405"/>
          <ac:spMkLst>
            <pc:docMk/>
            <pc:sldMk cId="2499343128" sldId="5394"/>
            <ac:spMk id="11" creationId="{B187E1D1-E02B-CDD7-77D5-A5F290F7CC54}"/>
          </ac:spMkLst>
        </pc:spChg>
        <pc:spChg chg="add del mod">
          <ac:chgData name="Doerfler, Lena" userId="aeb0559f-200d-4a58-9e6d-125e1b704bf8" providerId="ADAL" clId="{2F42D7B1-B962-445E-8485-41980C3AF6B0}" dt="2023-02-27T15:37:19.676" v="2534"/>
          <ac:spMkLst>
            <pc:docMk/>
            <pc:sldMk cId="2499343128" sldId="5394"/>
            <ac:spMk id="12" creationId="{CEA20372-3EE1-2155-C320-3EA40B64BA80}"/>
          </ac:spMkLst>
        </pc:spChg>
        <pc:spChg chg="add del mod">
          <ac:chgData name="Doerfler, Lena" userId="aeb0559f-200d-4a58-9e6d-125e1b704bf8" providerId="ADAL" clId="{2F42D7B1-B962-445E-8485-41980C3AF6B0}" dt="2023-02-27T15:37:41.316" v="3041"/>
          <ac:spMkLst>
            <pc:docMk/>
            <pc:sldMk cId="2499343128" sldId="5394"/>
            <ac:spMk id="13" creationId="{7173F37F-32E2-47E6-016F-C016AF22ED75}"/>
          </ac:spMkLst>
        </pc:spChg>
        <pc:spChg chg="add mod">
          <ac:chgData name="Doerfler, Lena" userId="aeb0559f-200d-4a58-9e6d-125e1b704bf8" providerId="ADAL" clId="{2F42D7B1-B962-445E-8485-41980C3AF6B0}" dt="2023-02-27T15:37:41.326" v="3042"/>
          <ac:spMkLst>
            <pc:docMk/>
            <pc:sldMk cId="2499343128" sldId="5394"/>
            <ac:spMk id="14" creationId="{364BE96D-5A1E-ED20-F372-B59C8E096A91}"/>
          </ac:spMkLst>
        </pc:spChg>
        <pc:graphicFrameChg chg="add mod ord modVis replST">
          <ac:chgData name="Doerfler, Lena" userId="aeb0559f-200d-4a58-9e6d-125e1b704bf8" providerId="ADAL" clId="{2F42D7B1-B962-445E-8485-41980C3AF6B0}" dt="2023-02-27T15:32:31.066" v="407"/>
          <ac:graphicFrameMkLst>
            <pc:docMk/>
            <pc:sldMk cId="2499343128" sldId="5394"/>
            <ac:graphicFrameMk id="9" creationId="{F48F8CC0-8205-F91A-05CD-FC475DFBBABA}"/>
          </ac:graphicFrameMkLst>
        </pc:graphicFrameChg>
      </pc:sldChg>
      <pc:sldChg chg="addSp delSp modSp add del mod">
        <pc:chgData name="Doerfler, Lena" userId="aeb0559f-200d-4a58-9e6d-125e1b704bf8" providerId="ADAL" clId="{2F42D7B1-B962-445E-8485-41980C3AF6B0}" dt="2023-02-27T15:51:26.407" v="3186" actId="47"/>
        <pc:sldMkLst>
          <pc:docMk/>
          <pc:sldMk cId="3939946716" sldId="5395"/>
        </pc:sldMkLst>
        <pc:spChg chg="mod ord">
          <ac:chgData name="Doerfler, Lena" userId="aeb0559f-200d-4a58-9e6d-125e1b704bf8" providerId="ADAL" clId="{2F42D7B1-B962-445E-8485-41980C3AF6B0}" dt="2023-02-27T15:50:12.466" v="3158"/>
          <ac:spMkLst>
            <pc:docMk/>
            <pc:sldMk cId="3939946716" sldId="5395"/>
            <ac:spMk id="2" creationId="{EC564122-7C24-4E05-A89C-FF1EB561C91C}"/>
          </ac:spMkLst>
        </pc:spChg>
        <pc:spChg chg="mod ord">
          <ac:chgData name="Doerfler, Lena" userId="aeb0559f-200d-4a58-9e6d-125e1b704bf8" providerId="ADAL" clId="{2F42D7B1-B962-445E-8485-41980C3AF6B0}" dt="2023-02-27T15:50:12.466" v="3160"/>
          <ac:spMkLst>
            <pc:docMk/>
            <pc:sldMk cId="3939946716" sldId="5395"/>
            <ac:spMk id="5" creationId="{D6A7FEEB-CD02-496D-AA28-40C72F5D378B}"/>
          </ac:spMkLst>
        </pc:spChg>
        <pc:spChg chg="mod ord">
          <ac:chgData name="Doerfler, Lena" userId="aeb0559f-200d-4a58-9e6d-125e1b704bf8" providerId="ADAL" clId="{2F42D7B1-B962-445E-8485-41980C3AF6B0}" dt="2023-02-27T15:50:12.466" v="3162"/>
          <ac:spMkLst>
            <pc:docMk/>
            <pc:sldMk cId="3939946716" sldId="5395"/>
            <ac:spMk id="6" creationId="{A6C8AE28-DBAB-4F89-B1B3-700129443BC9}"/>
          </ac:spMkLst>
        </pc:spChg>
        <pc:spChg chg="del">
          <ac:chgData name="Doerfler, Lena" userId="aeb0559f-200d-4a58-9e6d-125e1b704bf8" providerId="ADAL" clId="{2F42D7B1-B962-445E-8485-41980C3AF6B0}" dt="2023-02-27T15:49:15.626" v="3074" actId="478"/>
          <ac:spMkLst>
            <pc:docMk/>
            <pc:sldMk cId="3939946716" sldId="5395"/>
            <ac:spMk id="7" creationId="{EDAAA555-663C-237F-51DF-C33F9FE4B86F}"/>
          </ac:spMkLst>
        </pc:spChg>
        <pc:spChg chg="del">
          <ac:chgData name="Doerfler, Lena" userId="aeb0559f-200d-4a58-9e6d-125e1b704bf8" providerId="ADAL" clId="{2F42D7B1-B962-445E-8485-41980C3AF6B0}" dt="2023-02-27T15:49:15.626" v="3074" actId="478"/>
          <ac:spMkLst>
            <pc:docMk/>
            <pc:sldMk cId="3939946716" sldId="5395"/>
            <ac:spMk id="8" creationId="{149FCE66-DE3A-9A9E-932A-DB64AF141C0F}"/>
          </ac:spMkLst>
        </pc:spChg>
        <pc:spChg chg="add mod topLvl">
          <ac:chgData name="Doerfler, Lena" userId="aeb0559f-200d-4a58-9e6d-125e1b704bf8" providerId="ADAL" clId="{2F42D7B1-B962-445E-8485-41980C3AF6B0}" dt="2023-02-27T15:50:53.180" v="3177" actId="1076"/>
          <ac:spMkLst>
            <pc:docMk/>
            <pc:sldMk cId="3939946716" sldId="5395"/>
            <ac:spMk id="10" creationId="{D94251FD-1EB5-D30C-99D6-8C921E9C634F}"/>
          </ac:spMkLst>
        </pc:spChg>
        <pc:spChg chg="del">
          <ac:chgData name="Doerfler, Lena" userId="aeb0559f-200d-4a58-9e6d-125e1b704bf8" providerId="ADAL" clId="{2F42D7B1-B962-445E-8485-41980C3AF6B0}" dt="2023-02-27T15:49:15.626" v="3074" actId="478"/>
          <ac:spMkLst>
            <pc:docMk/>
            <pc:sldMk cId="3939946716" sldId="5395"/>
            <ac:spMk id="11" creationId="{1B48F966-6751-8FAB-ACDA-F4A02B05CE72}"/>
          </ac:spMkLst>
        </pc:spChg>
        <pc:spChg chg="add del mod modVis">
          <ac:chgData name="Doerfler, Lena" userId="aeb0559f-200d-4a58-9e6d-125e1b704bf8" providerId="ADAL" clId="{2F42D7B1-B962-445E-8485-41980C3AF6B0}" dt="2023-02-27T15:50:06.009" v="3136"/>
          <ac:spMkLst>
            <pc:docMk/>
            <pc:sldMk cId="3939946716" sldId="5395"/>
            <ac:spMk id="13" creationId="{D0ACEC70-001A-8D4F-29BD-4B05812C664C}"/>
          </ac:spMkLst>
        </pc:spChg>
        <pc:spChg chg="del">
          <ac:chgData name="Doerfler, Lena" userId="aeb0559f-200d-4a58-9e6d-125e1b704bf8" providerId="ADAL" clId="{2F42D7B1-B962-445E-8485-41980C3AF6B0}" dt="2023-02-27T15:49:19.208" v="3075" actId="478"/>
          <ac:spMkLst>
            <pc:docMk/>
            <pc:sldMk cId="3939946716" sldId="5395"/>
            <ac:spMk id="15" creationId="{13516D75-5114-8ECD-1032-4027282C9D61}"/>
          </ac:spMkLst>
        </pc:spChg>
        <pc:spChg chg="del">
          <ac:chgData name="Doerfler, Lena" userId="aeb0559f-200d-4a58-9e6d-125e1b704bf8" providerId="ADAL" clId="{2F42D7B1-B962-445E-8485-41980C3AF6B0}" dt="2023-02-27T15:49:15.626" v="3074" actId="478"/>
          <ac:spMkLst>
            <pc:docMk/>
            <pc:sldMk cId="3939946716" sldId="5395"/>
            <ac:spMk id="17" creationId="{8A81FAD1-EAFF-CBC8-9BF9-531ADC8B12E9}"/>
          </ac:spMkLst>
        </pc:spChg>
        <pc:spChg chg="del">
          <ac:chgData name="Doerfler, Lena" userId="aeb0559f-200d-4a58-9e6d-125e1b704bf8" providerId="ADAL" clId="{2F42D7B1-B962-445E-8485-41980C3AF6B0}" dt="2023-02-27T15:49:15.626" v="3074" actId="478"/>
          <ac:spMkLst>
            <pc:docMk/>
            <pc:sldMk cId="3939946716" sldId="5395"/>
            <ac:spMk id="19" creationId="{90A729DC-BF5E-7245-C18D-644DCA4C79F8}"/>
          </ac:spMkLst>
        </pc:spChg>
        <pc:spChg chg="del">
          <ac:chgData name="Doerfler, Lena" userId="aeb0559f-200d-4a58-9e6d-125e1b704bf8" providerId="ADAL" clId="{2F42D7B1-B962-445E-8485-41980C3AF6B0}" dt="2023-02-27T15:49:19.208" v="3075" actId="478"/>
          <ac:spMkLst>
            <pc:docMk/>
            <pc:sldMk cId="3939946716" sldId="5395"/>
            <ac:spMk id="20" creationId="{F648CFE0-1367-F87B-2DD3-44D8A31E8788}"/>
          </ac:spMkLst>
        </pc:spChg>
        <pc:spChg chg="del">
          <ac:chgData name="Doerfler, Lena" userId="aeb0559f-200d-4a58-9e6d-125e1b704bf8" providerId="ADAL" clId="{2F42D7B1-B962-445E-8485-41980C3AF6B0}" dt="2023-02-27T15:49:15.626" v="3074" actId="478"/>
          <ac:spMkLst>
            <pc:docMk/>
            <pc:sldMk cId="3939946716" sldId="5395"/>
            <ac:spMk id="21" creationId="{759EE3D9-6B65-0D0C-89CB-E73B39E5314D}"/>
          </ac:spMkLst>
        </pc:spChg>
        <pc:spChg chg="del">
          <ac:chgData name="Doerfler, Lena" userId="aeb0559f-200d-4a58-9e6d-125e1b704bf8" providerId="ADAL" clId="{2F42D7B1-B962-445E-8485-41980C3AF6B0}" dt="2023-02-27T15:49:15.626" v="3074" actId="478"/>
          <ac:spMkLst>
            <pc:docMk/>
            <pc:sldMk cId="3939946716" sldId="5395"/>
            <ac:spMk id="22" creationId="{B24E6724-8C02-F6F2-F627-32B2D9D61354}"/>
          </ac:spMkLst>
        </pc:spChg>
        <pc:spChg chg="del">
          <ac:chgData name="Doerfler, Lena" userId="aeb0559f-200d-4a58-9e6d-125e1b704bf8" providerId="ADAL" clId="{2F42D7B1-B962-445E-8485-41980C3AF6B0}" dt="2023-02-27T15:49:15.626" v="3074" actId="478"/>
          <ac:spMkLst>
            <pc:docMk/>
            <pc:sldMk cId="3939946716" sldId="5395"/>
            <ac:spMk id="23" creationId="{1138C689-C2DC-4C02-56B9-BE37F900EAF5}"/>
          </ac:spMkLst>
        </pc:spChg>
        <pc:spChg chg="mod ord">
          <ac:chgData name="Doerfler, Lena" userId="aeb0559f-200d-4a58-9e6d-125e1b704bf8" providerId="ADAL" clId="{2F42D7B1-B962-445E-8485-41980C3AF6B0}" dt="2023-02-27T15:50:12.466" v="3164"/>
          <ac:spMkLst>
            <pc:docMk/>
            <pc:sldMk cId="3939946716" sldId="5395"/>
            <ac:spMk id="29" creationId="{949142F9-D6E7-81F4-E8FF-CA7871AF1819}"/>
          </ac:spMkLst>
        </pc:spChg>
        <pc:grpChg chg="add del mod ord">
          <ac:chgData name="Doerfler, Lena" userId="aeb0559f-200d-4a58-9e6d-125e1b704bf8" providerId="ADAL" clId="{2F42D7B1-B962-445E-8485-41980C3AF6B0}" dt="2023-02-27T15:50:38.071" v="3172" actId="165"/>
          <ac:grpSpMkLst>
            <pc:docMk/>
            <pc:sldMk cId="3939946716" sldId="5395"/>
            <ac:grpSpMk id="12" creationId="{C799B0AB-7057-1DB3-5622-3706A8ADC103}"/>
          </ac:grpSpMkLst>
        </pc:grpChg>
        <pc:graphicFrameChg chg="mod">
          <ac:chgData name="Doerfler, Lena" userId="aeb0559f-200d-4a58-9e6d-125e1b704bf8" providerId="ADAL" clId="{2F42D7B1-B962-445E-8485-41980C3AF6B0}" dt="2023-02-27T15:50:12.476" v="3168"/>
          <ac:graphicFrameMkLst>
            <pc:docMk/>
            <pc:sldMk cId="3939946716" sldId="5395"/>
            <ac:graphicFrameMk id="9" creationId="{145CD8CB-8885-05B9-EA4F-C8CC76C313DD}"/>
          </ac:graphicFrameMkLst>
        </pc:graphicFrameChg>
        <pc:picChg chg="add mod topLvl">
          <ac:chgData name="Doerfler, Lena" userId="aeb0559f-200d-4a58-9e6d-125e1b704bf8" providerId="ADAL" clId="{2F42D7B1-B962-445E-8485-41980C3AF6B0}" dt="2023-02-27T15:50:53.180" v="3177" actId="1076"/>
          <ac:picMkLst>
            <pc:docMk/>
            <pc:sldMk cId="3939946716" sldId="5395"/>
            <ac:picMk id="4" creationId="{CD5112A0-7BDD-CA8D-8CB3-E79137225D94}"/>
          </ac:picMkLst>
        </pc:picChg>
      </pc:sldChg>
      <pc:sldChg chg="addSp delSp modSp new add del mod">
        <pc:chgData name="Doerfler, Lena" userId="aeb0559f-200d-4a58-9e6d-125e1b704bf8" providerId="ADAL" clId="{2F42D7B1-B962-445E-8485-41980C3AF6B0}" dt="2023-02-28T08:15:12.608" v="3751" actId="47"/>
        <pc:sldMkLst>
          <pc:docMk/>
          <pc:sldMk cId="427880946" sldId="5396"/>
        </pc:sldMkLst>
        <pc:spChg chg="mod">
          <ac:chgData name="Doerfler, Lena" userId="aeb0559f-200d-4a58-9e6d-125e1b704bf8" providerId="ADAL" clId="{2F42D7B1-B962-445E-8485-41980C3AF6B0}" dt="2023-02-27T15:51:43.312" v="3190" actId="948"/>
          <ac:spMkLst>
            <pc:docMk/>
            <pc:sldMk cId="427880946" sldId="5396"/>
            <ac:spMk id="2" creationId="{04794133-90B8-8D72-7EC3-37B241EC2176}"/>
          </ac:spMkLst>
        </pc:spChg>
        <pc:spChg chg="del">
          <ac:chgData name="Doerfler, Lena" userId="aeb0559f-200d-4a58-9e6d-125e1b704bf8" providerId="ADAL" clId="{2F42D7B1-B962-445E-8485-41980C3AF6B0}" dt="2023-02-27T15:51:08.899" v="3180" actId="478"/>
          <ac:spMkLst>
            <pc:docMk/>
            <pc:sldMk cId="427880946" sldId="5396"/>
            <ac:spMk id="3" creationId="{EE49A7B6-3E67-3D6F-4E73-90A1C53A1C15}"/>
          </ac:spMkLst>
        </pc:spChg>
        <pc:spChg chg="add del mod modVis">
          <ac:chgData name="Doerfler, Lena" userId="aeb0559f-200d-4a58-9e6d-125e1b704bf8" providerId="ADAL" clId="{2F42D7B1-B962-445E-8485-41980C3AF6B0}" dt="2023-02-27T15:51:43.393" v="3231"/>
          <ac:spMkLst>
            <pc:docMk/>
            <pc:sldMk cId="427880946" sldId="5396"/>
            <ac:spMk id="10" creationId="{F20727FB-1EDD-727B-FA4B-F4BE26B3DC34}"/>
          </ac:spMkLst>
        </pc:spChg>
        <pc:graphicFrameChg chg="add mod ord modVis replST">
          <ac:chgData name="Doerfler, Lena" userId="aeb0559f-200d-4a58-9e6d-125e1b704bf8" providerId="ADAL" clId="{2F42D7B1-B962-445E-8485-41980C3AF6B0}" dt="2023-02-27T15:51:43.476" v="3247"/>
          <ac:graphicFrameMkLst>
            <pc:docMk/>
            <pc:sldMk cId="427880946" sldId="5396"/>
            <ac:graphicFrameMk id="11" creationId="{19BA11DE-B0A7-C62C-5D2B-E116E5C498FE}"/>
          </ac:graphicFrameMkLst>
        </pc:graphicFrameChg>
        <pc:picChg chg="add mod">
          <ac:chgData name="Doerfler, Lena" userId="aeb0559f-200d-4a58-9e6d-125e1b704bf8" providerId="ADAL" clId="{2F42D7B1-B962-445E-8485-41980C3AF6B0}" dt="2023-02-27T15:51:50.964" v="3249" actId="1076"/>
          <ac:picMkLst>
            <pc:docMk/>
            <pc:sldMk cId="427880946" sldId="5396"/>
            <ac:picMk id="9" creationId="{9E07BDFC-7CF1-9183-A448-F6B3AC4AC4D6}"/>
          </ac:picMkLst>
        </pc:picChg>
      </pc:sldChg>
      <pc:sldChg chg="addSp delSp modSp new add del mod">
        <pc:chgData name="Doerfler, Lena" userId="aeb0559f-200d-4a58-9e6d-125e1b704bf8" providerId="ADAL" clId="{2F42D7B1-B962-445E-8485-41980C3AF6B0}" dt="2023-03-01T14:15:15.898" v="6888" actId="2696"/>
        <pc:sldMkLst>
          <pc:docMk/>
          <pc:sldMk cId="1697754146" sldId="5397"/>
        </pc:sldMkLst>
        <pc:spChg chg="mod">
          <ac:chgData name="Doerfler, Lena" userId="aeb0559f-200d-4a58-9e6d-125e1b704bf8" providerId="ADAL" clId="{2F42D7B1-B962-445E-8485-41980C3AF6B0}" dt="2023-02-28T08:14:54.791" v="3706" actId="948"/>
          <ac:spMkLst>
            <pc:docMk/>
            <pc:sldMk cId="1697754146" sldId="5397"/>
            <ac:spMk id="2" creationId="{C301E51E-4BBF-B741-293A-481D445001BF}"/>
          </ac:spMkLst>
        </pc:spChg>
        <pc:spChg chg="del">
          <ac:chgData name="Doerfler, Lena" userId="aeb0559f-200d-4a58-9e6d-125e1b704bf8" providerId="ADAL" clId="{2F42D7B1-B962-445E-8485-41980C3AF6B0}" dt="2023-02-28T08:15:09.649" v="3750"/>
          <ac:spMkLst>
            <pc:docMk/>
            <pc:sldMk cId="1697754146" sldId="5397"/>
            <ac:spMk id="3" creationId="{4E071BB6-8F36-9458-69F0-1C12BBF4A92D}"/>
          </ac:spMkLst>
        </pc:spChg>
        <pc:spChg chg="add del mod modVis">
          <ac:chgData name="Doerfler, Lena" userId="aeb0559f-200d-4a58-9e6d-125e1b704bf8" providerId="ADAL" clId="{2F42D7B1-B962-445E-8485-41980C3AF6B0}" dt="2023-02-28T08:14:38.566" v="3312"/>
          <ac:spMkLst>
            <pc:docMk/>
            <pc:sldMk cId="1697754146" sldId="5397"/>
            <ac:spMk id="8" creationId="{AC067E33-6496-6D80-F970-D11F404D7517}"/>
          </ac:spMkLst>
        </pc:spChg>
        <pc:spChg chg="add del mod modVis">
          <ac:chgData name="Doerfler, Lena" userId="aeb0559f-200d-4a58-9e6d-125e1b704bf8" providerId="ADAL" clId="{2F42D7B1-B962-445E-8485-41980C3AF6B0}" dt="2023-02-28T08:14:39.546" v="3372"/>
          <ac:spMkLst>
            <pc:docMk/>
            <pc:sldMk cId="1697754146" sldId="5397"/>
            <ac:spMk id="10" creationId="{A2CEE82E-B617-25ED-5003-5477D762AD7D}"/>
          </ac:spMkLst>
        </pc:spChg>
        <pc:spChg chg="add del mod modVis">
          <ac:chgData name="Doerfler, Lena" userId="aeb0559f-200d-4a58-9e6d-125e1b704bf8" providerId="ADAL" clId="{2F42D7B1-B962-445E-8485-41980C3AF6B0}" dt="2023-02-28T08:14:41.714" v="3424"/>
          <ac:spMkLst>
            <pc:docMk/>
            <pc:sldMk cId="1697754146" sldId="5397"/>
            <ac:spMk id="11" creationId="{893A0242-9EF0-42D5-AF18-E46A8E69FBDF}"/>
          </ac:spMkLst>
        </pc:spChg>
        <pc:spChg chg="add del mod modVis">
          <ac:chgData name="Doerfler, Lena" userId="aeb0559f-200d-4a58-9e6d-125e1b704bf8" providerId="ADAL" clId="{2F42D7B1-B962-445E-8485-41980C3AF6B0}" dt="2023-02-28T08:14:42.280" v="3469"/>
          <ac:spMkLst>
            <pc:docMk/>
            <pc:sldMk cId="1697754146" sldId="5397"/>
            <ac:spMk id="12" creationId="{9351B787-89B5-9F07-CC2A-9E9070DA31C2}"/>
          </ac:spMkLst>
        </pc:spChg>
        <pc:spChg chg="add del mod modVis">
          <ac:chgData name="Doerfler, Lena" userId="aeb0559f-200d-4a58-9e6d-125e1b704bf8" providerId="ADAL" clId="{2F42D7B1-B962-445E-8485-41980C3AF6B0}" dt="2023-02-28T08:14:43.480" v="3515"/>
          <ac:spMkLst>
            <pc:docMk/>
            <pc:sldMk cId="1697754146" sldId="5397"/>
            <ac:spMk id="13" creationId="{24FF5AC3-EA0B-676F-495A-05A4B42D7793}"/>
          </ac:spMkLst>
        </pc:spChg>
        <pc:spChg chg="add del mod modVis">
          <ac:chgData name="Doerfler, Lena" userId="aeb0559f-200d-4a58-9e6d-125e1b704bf8" providerId="ADAL" clId="{2F42D7B1-B962-445E-8485-41980C3AF6B0}" dt="2023-02-28T08:14:44.962" v="3565"/>
          <ac:spMkLst>
            <pc:docMk/>
            <pc:sldMk cId="1697754146" sldId="5397"/>
            <ac:spMk id="14" creationId="{EB579B72-53FB-95D6-7132-23CFBAAEC387}"/>
          </ac:spMkLst>
        </pc:spChg>
        <pc:spChg chg="add del mod modVis">
          <ac:chgData name="Doerfler, Lena" userId="aeb0559f-200d-4a58-9e6d-125e1b704bf8" providerId="ADAL" clId="{2F42D7B1-B962-445E-8485-41980C3AF6B0}" dt="2023-02-28T08:14:45.855" v="3611"/>
          <ac:spMkLst>
            <pc:docMk/>
            <pc:sldMk cId="1697754146" sldId="5397"/>
            <ac:spMk id="15" creationId="{2F276476-BB94-7200-A037-E6395AEE54A3}"/>
          </ac:spMkLst>
        </pc:spChg>
        <pc:spChg chg="add del mod modVis">
          <ac:chgData name="Doerfler, Lena" userId="aeb0559f-200d-4a58-9e6d-125e1b704bf8" providerId="ADAL" clId="{2F42D7B1-B962-445E-8485-41980C3AF6B0}" dt="2023-02-28T08:14:53.508" v="3697"/>
          <ac:spMkLst>
            <pc:docMk/>
            <pc:sldMk cId="1697754146" sldId="5397"/>
            <ac:spMk id="16" creationId="{971A7B65-CF40-7E64-861A-F3D54D01D999}"/>
          </ac:spMkLst>
        </pc:spChg>
        <pc:spChg chg="add del mod modVis">
          <ac:chgData name="Doerfler, Lena" userId="aeb0559f-200d-4a58-9e6d-125e1b704bf8" providerId="ADAL" clId="{2F42D7B1-B962-445E-8485-41980C3AF6B0}" dt="2023-02-28T08:14:54.834" v="3747"/>
          <ac:spMkLst>
            <pc:docMk/>
            <pc:sldMk cId="1697754146" sldId="5397"/>
            <ac:spMk id="17" creationId="{F7C362BF-3465-75FC-99F6-D6C26A714CE9}"/>
          </ac:spMkLst>
        </pc:spChg>
        <pc:graphicFrameChg chg="add mod ord modVis replST">
          <ac:chgData name="Doerfler, Lena" userId="aeb0559f-200d-4a58-9e6d-125e1b704bf8" providerId="ADAL" clId="{2F42D7B1-B962-445E-8485-41980C3AF6B0}" dt="2023-02-28T08:14:54.840" v="3749"/>
          <ac:graphicFrameMkLst>
            <pc:docMk/>
            <pc:sldMk cId="1697754146" sldId="5397"/>
            <ac:graphicFrameMk id="9" creationId="{8225364F-9812-5FB7-40F3-1BEE4C1FAEBB}"/>
          </ac:graphicFrameMkLst>
        </pc:graphicFrameChg>
        <pc:picChg chg="add mod">
          <ac:chgData name="Doerfler, Lena" userId="aeb0559f-200d-4a58-9e6d-125e1b704bf8" providerId="ADAL" clId="{2F42D7B1-B962-445E-8485-41980C3AF6B0}" dt="2023-02-28T08:15:09.649" v="3750"/>
          <ac:picMkLst>
            <pc:docMk/>
            <pc:sldMk cId="1697754146" sldId="5397"/>
            <ac:picMk id="19" creationId="{1ADAFA54-1BD3-9F7E-5F82-8F81A3954ECE}"/>
          </ac:picMkLst>
        </pc:picChg>
      </pc:sldChg>
      <pc:sldChg chg="addSp delSp modSp new add del mod modAnim">
        <pc:chgData name="Doerfler, Lena" userId="aeb0559f-200d-4a58-9e6d-125e1b704bf8" providerId="ADAL" clId="{2F42D7B1-B962-445E-8485-41980C3AF6B0}" dt="2023-03-01T14:15:16.277" v="6896" actId="2696"/>
        <pc:sldMkLst>
          <pc:docMk/>
          <pc:sldMk cId="1204136801" sldId="5398"/>
        </pc:sldMkLst>
        <pc:spChg chg="mod ord">
          <ac:chgData name="Doerfler, Lena" userId="aeb0559f-200d-4a58-9e6d-125e1b704bf8" providerId="ADAL" clId="{2F42D7B1-B962-445E-8485-41980C3AF6B0}" dt="2023-02-28T08:25:38.202" v="3924"/>
          <ac:spMkLst>
            <pc:docMk/>
            <pc:sldMk cId="1204136801" sldId="5398"/>
            <ac:spMk id="2" creationId="{D4456312-534A-DACD-AE91-A2F8C3258A98}"/>
          </ac:spMkLst>
        </pc:spChg>
        <pc:spChg chg="del">
          <ac:chgData name="Doerfler, Lena" userId="aeb0559f-200d-4a58-9e6d-125e1b704bf8" providerId="ADAL" clId="{2F42D7B1-B962-445E-8485-41980C3AF6B0}" dt="2023-02-28T08:16:00.340" v="3829" actId="478"/>
          <ac:spMkLst>
            <pc:docMk/>
            <pc:sldMk cId="1204136801" sldId="5398"/>
            <ac:spMk id="3" creationId="{985F1CE5-FCA8-7B44-8123-33ABDDB488F7}"/>
          </ac:spMkLst>
        </pc:spChg>
        <pc:spChg chg="mod ord">
          <ac:chgData name="Doerfler, Lena" userId="aeb0559f-200d-4a58-9e6d-125e1b704bf8" providerId="ADAL" clId="{2F42D7B1-B962-445E-8485-41980C3AF6B0}" dt="2023-02-28T12:57:45.288" v="5712" actId="20577"/>
          <ac:spMkLst>
            <pc:docMk/>
            <pc:sldMk cId="1204136801" sldId="5398"/>
            <ac:spMk id="4" creationId="{77853C35-E04F-9E58-EDDA-445156B55937}"/>
          </ac:spMkLst>
        </pc:spChg>
        <pc:spChg chg="mod ord">
          <ac:chgData name="Doerfler, Lena" userId="aeb0559f-200d-4a58-9e6d-125e1b704bf8" providerId="ADAL" clId="{2F42D7B1-B962-445E-8485-41980C3AF6B0}" dt="2023-02-28T08:25:38.202" v="3928"/>
          <ac:spMkLst>
            <pc:docMk/>
            <pc:sldMk cId="1204136801" sldId="5398"/>
            <ac:spMk id="5" creationId="{635D6B65-5091-E894-01AA-EF0AA61EE8D6}"/>
          </ac:spMkLst>
        </pc:spChg>
        <pc:spChg chg="mod ord">
          <ac:chgData name="Doerfler, Lena" userId="aeb0559f-200d-4a58-9e6d-125e1b704bf8" providerId="ADAL" clId="{2F42D7B1-B962-445E-8485-41980C3AF6B0}" dt="2023-02-28T08:25:38.202" v="3930"/>
          <ac:spMkLst>
            <pc:docMk/>
            <pc:sldMk cId="1204136801" sldId="5398"/>
            <ac:spMk id="6" creationId="{504C551B-2198-F1A4-FBBC-94FFF2DF7E73}"/>
          </ac:spMkLst>
        </pc:spChg>
        <pc:spChg chg="mod ord">
          <ac:chgData name="Doerfler, Lena" userId="aeb0559f-200d-4a58-9e6d-125e1b704bf8" providerId="ADAL" clId="{2F42D7B1-B962-445E-8485-41980C3AF6B0}" dt="2023-02-28T08:25:38.202" v="3932"/>
          <ac:spMkLst>
            <pc:docMk/>
            <pc:sldMk cId="1204136801" sldId="5398"/>
            <ac:spMk id="7" creationId="{B4A285DA-3CCE-69FE-83AE-F36F7A781C41}"/>
          </ac:spMkLst>
        </pc:spChg>
        <pc:spChg chg="add del mod modVis">
          <ac:chgData name="Doerfler, Lena" userId="aeb0559f-200d-4a58-9e6d-125e1b704bf8" providerId="ADAL" clId="{2F42D7B1-B962-445E-8485-41980C3AF6B0}" dt="2023-02-28T08:15:58.268" v="3812"/>
          <ac:spMkLst>
            <pc:docMk/>
            <pc:sldMk cId="1204136801" sldId="5398"/>
            <ac:spMk id="8" creationId="{B64763B4-CD8A-C20E-DC4B-29295577714F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11" creationId="{D70E1BA8-AE6F-A45D-1E68-4502C96E2625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12" creationId="{FB77E34D-4149-F3D0-D845-C869B6920E4E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13" creationId="{7C17A9A8-3759-FD7E-302E-6236424E4B95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14" creationId="{9EC9BC71-022D-5AD0-595D-0ACEFEBE8AD4}"/>
          </ac:spMkLst>
        </pc:spChg>
        <pc:spChg chg="del mod">
          <ac:chgData name="Doerfler, Lena" userId="aeb0559f-200d-4a58-9e6d-125e1b704bf8" providerId="ADAL" clId="{2F42D7B1-B962-445E-8485-41980C3AF6B0}" dt="2023-02-28T08:16:17.831" v="3832" actId="478"/>
          <ac:spMkLst>
            <pc:docMk/>
            <pc:sldMk cId="1204136801" sldId="5398"/>
            <ac:spMk id="15" creationId="{C5CFF16C-0042-9A60-15E9-2DE3012B2392}"/>
          </ac:spMkLst>
        </pc:spChg>
        <pc:spChg chg="add del 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18" creationId="{1866829B-B816-36BC-D735-7B0282DEFBDE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0" creationId="{155299C4-9A24-B622-1025-62F208BC95B2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1" creationId="{F86AB78D-C71C-3E1E-A190-3366F854A210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2" creationId="{6C1AED81-5F9B-60AE-3CB0-B55654761375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3" creationId="{38A26637-A793-4D1C-B2B7-E66055E68711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4" creationId="{06DA8491-9D53-D1B7-5BFF-E1AC85221CD6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5" creationId="{4DD270F7-FB34-33C6-50A2-74A6EC8A9205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6" creationId="{05C24279-04D5-B999-BD92-2EE32D868644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7" creationId="{2EEF89C4-92E3-FBEF-2E2D-3A3E0B44CBE7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8" creationId="{42AC83B7-875C-E977-A409-9BCBA0A659B9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29" creationId="{1A8671AC-905E-141B-3F11-0D44A40AC0A5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0" creationId="{02F71979-E977-78E0-275F-52EC0B53589B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1" creationId="{DAC3BCC4-8C50-EDBB-DA18-97D709D3C178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2" creationId="{0A7BF23B-34E5-E292-0B6A-7DC3F29B0DE4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3" creationId="{BE188821-4F2C-FA60-A9C5-DCC5650EFB8F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4" creationId="{3635C606-7707-172A-3806-776863AECE73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5" creationId="{5EFF90C4-9811-10B9-7FBE-14CE9481BF19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6" creationId="{7A80229B-F00E-4375-3D6E-08F4EC732DAD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8" creationId="{16D1FE81-F838-8A81-2439-527B58B1A326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39" creationId="{79CB8919-73BF-06CE-6548-0A84C192E2F6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40" creationId="{9AB64D73-E031-0D24-09B6-50189922D93C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43" creationId="{E5D0E40D-88E8-9D3F-A033-4FEB922DA6F5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44" creationId="{63AC2C73-5F65-EDCB-791E-5B4D92969704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45" creationId="{EDB0EB7B-1742-DB3E-FCF9-229AF9718C56}"/>
          </ac:spMkLst>
        </pc:spChg>
        <pc:spChg chg="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46" creationId="{2D94117C-8236-C49A-1763-D1B1B87B849E}"/>
          </ac:spMkLst>
        </pc:spChg>
        <pc:spChg chg="mod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48" creationId="{6E5062B1-8F20-68CB-B034-DC748B2E40B2}"/>
          </ac:spMkLst>
        </pc:spChg>
        <pc:spChg chg="mod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49" creationId="{A9F7EB45-F490-9A4B-6D9F-43B13BE67E7C}"/>
          </ac:spMkLst>
        </pc:spChg>
        <pc:spChg chg="mod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54" creationId="{DB8BE221-5CE3-FC48-483E-4F299915434F}"/>
          </ac:spMkLst>
        </pc:spChg>
        <pc:spChg chg="mod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55" creationId="{3FCA6787-F574-5F0D-3B12-8C1F469881A7}"/>
          </ac:spMkLst>
        </pc:spChg>
        <pc:spChg chg="mod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56" creationId="{01171C36-7358-523E-3E6B-6BF6EA10EC1B}"/>
          </ac:spMkLst>
        </pc:spChg>
        <pc:spChg chg="add mod ord topLvl">
          <ac:chgData name="Doerfler, Lena" userId="aeb0559f-200d-4a58-9e6d-125e1b704bf8" providerId="ADAL" clId="{2F42D7B1-B962-445E-8485-41980C3AF6B0}" dt="2023-02-28T09:25:54.757" v="4212" actId="164"/>
          <ac:spMkLst>
            <pc:docMk/>
            <pc:sldMk cId="1204136801" sldId="5398"/>
            <ac:spMk id="60" creationId="{A2B0A868-E0BE-CBE9-27F2-1F38018DCB2D}"/>
          </ac:spMkLst>
        </pc:spChg>
        <pc:spChg chg="add mod ord topLvl">
          <ac:chgData name="Doerfler, Lena" userId="aeb0559f-200d-4a58-9e6d-125e1b704bf8" providerId="ADAL" clId="{2F42D7B1-B962-445E-8485-41980C3AF6B0}" dt="2023-02-28T09:27:07.845" v="4225" actId="164"/>
          <ac:spMkLst>
            <pc:docMk/>
            <pc:sldMk cId="1204136801" sldId="5398"/>
            <ac:spMk id="61" creationId="{9D1F46BE-FB38-0B6B-10E8-A2D2662635FF}"/>
          </ac:spMkLst>
        </pc:spChg>
        <pc:spChg chg="add mod ord topLvl">
          <ac:chgData name="Doerfler, Lena" userId="aeb0559f-200d-4a58-9e6d-125e1b704bf8" providerId="ADAL" clId="{2F42D7B1-B962-445E-8485-41980C3AF6B0}" dt="2023-02-28T09:25:54.757" v="4212" actId="164"/>
          <ac:spMkLst>
            <pc:docMk/>
            <pc:sldMk cId="1204136801" sldId="5398"/>
            <ac:spMk id="62" creationId="{43C7AB66-3912-2731-843B-27275FBBD9EF}"/>
          </ac:spMkLst>
        </pc:spChg>
        <pc:spChg chg="add mod ord topLvl">
          <ac:chgData name="Doerfler, Lena" userId="aeb0559f-200d-4a58-9e6d-125e1b704bf8" providerId="ADAL" clId="{2F42D7B1-B962-445E-8485-41980C3AF6B0}" dt="2023-02-28T12:32:53.482" v="4853" actId="208"/>
          <ac:spMkLst>
            <pc:docMk/>
            <pc:sldMk cId="1204136801" sldId="5398"/>
            <ac:spMk id="63" creationId="{79B550BB-248C-7F3A-6E66-EA2149D2EB5F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70" creationId="{CB544F04-30AA-67A5-7DD6-105CAFED0C5F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71" creationId="{C02A0AF5-1ABF-A905-ABA8-6C68B7EFD5D1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72" creationId="{5EB19697-0575-2420-BECF-7F94F605D4D7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73" creationId="{399DFB99-4EED-2546-D9C4-9A944C113F48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74" creationId="{D449F2F8-C0C9-8288-BBF9-2B749C7CCA22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75" creationId="{B6606001-5637-765A-FED3-84D37AE1F1EA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76" creationId="{6FE86CCF-89F7-E3DF-1E5E-1920EB358AFB}"/>
          </ac:spMkLst>
        </pc:spChg>
        <pc:spChg chg="mod ord topLvl">
          <ac:chgData name="Doerfler, Lena" userId="aeb0559f-200d-4a58-9e6d-125e1b704bf8" providerId="ADAL" clId="{2F42D7B1-B962-445E-8485-41980C3AF6B0}" dt="2023-02-28T09:24:42.864" v="4202" actId="164"/>
          <ac:spMkLst>
            <pc:docMk/>
            <pc:sldMk cId="1204136801" sldId="5398"/>
            <ac:spMk id="77" creationId="{E235B0D6-0F3E-0360-0EE8-AF67B7485B90}"/>
          </ac:spMkLst>
        </pc:spChg>
        <pc:spChg chg="mod">
          <ac:chgData name="Doerfler, Lena" userId="aeb0559f-200d-4a58-9e6d-125e1b704bf8" providerId="ADAL" clId="{2F42D7B1-B962-445E-8485-41980C3AF6B0}" dt="2023-02-28T09:23:48.913" v="4198" actId="165"/>
          <ac:spMkLst>
            <pc:docMk/>
            <pc:sldMk cId="1204136801" sldId="5398"/>
            <ac:spMk id="79" creationId="{9A347854-54A9-40DC-4124-CFB963B1933F}"/>
          </ac:spMkLst>
        </pc:spChg>
        <pc:spChg chg="mod">
          <ac:chgData name="Doerfler, Lena" userId="aeb0559f-200d-4a58-9e6d-125e1b704bf8" providerId="ADAL" clId="{2F42D7B1-B962-445E-8485-41980C3AF6B0}" dt="2023-02-28T09:23:48.913" v="4198" actId="165"/>
          <ac:spMkLst>
            <pc:docMk/>
            <pc:sldMk cId="1204136801" sldId="5398"/>
            <ac:spMk id="80" creationId="{9D202BDC-18B8-46AA-CE3A-F6A64725C7AD}"/>
          </ac:spMkLst>
        </pc:spChg>
        <pc:spChg chg="mod">
          <ac:chgData name="Doerfler, Lena" userId="aeb0559f-200d-4a58-9e6d-125e1b704bf8" providerId="ADAL" clId="{2F42D7B1-B962-445E-8485-41980C3AF6B0}" dt="2023-02-28T09:23:48.913" v="4198" actId="165"/>
          <ac:spMkLst>
            <pc:docMk/>
            <pc:sldMk cId="1204136801" sldId="5398"/>
            <ac:spMk id="81" creationId="{7BD87F25-46CC-6A67-1BE8-843210BD9ABA}"/>
          </ac:spMkLst>
        </pc:spChg>
        <pc:spChg chg="mod">
          <ac:chgData name="Doerfler, Lena" userId="aeb0559f-200d-4a58-9e6d-125e1b704bf8" providerId="ADAL" clId="{2F42D7B1-B962-445E-8485-41980C3AF6B0}" dt="2023-02-28T09:23:48.913" v="4198" actId="165"/>
          <ac:spMkLst>
            <pc:docMk/>
            <pc:sldMk cId="1204136801" sldId="5398"/>
            <ac:spMk id="84" creationId="{BF5854FB-98F7-A600-F1DF-B0F23627F371}"/>
          </ac:spMkLst>
        </pc:spChg>
        <pc:spChg chg="mod">
          <ac:chgData name="Doerfler, Lena" userId="aeb0559f-200d-4a58-9e6d-125e1b704bf8" providerId="ADAL" clId="{2F42D7B1-B962-445E-8485-41980C3AF6B0}" dt="2023-02-28T12:33:55.993" v="4859" actId="207"/>
          <ac:spMkLst>
            <pc:docMk/>
            <pc:sldMk cId="1204136801" sldId="5398"/>
            <ac:spMk id="85" creationId="{F97A438E-B1D8-8557-8F1C-96BF1AE6CE19}"/>
          </ac:spMkLst>
        </pc:spChg>
        <pc:spChg chg="mod">
          <ac:chgData name="Doerfler, Lena" userId="aeb0559f-200d-4a58-9e6d-125e1b704bf8" providerId="ADAL" clId="{2F42D7B1-B962-445E-8485-41980C3AF6B0}" dt="2023-02-28T09:23:48.913" v="4198" actId="165"/>
          <ac:spMkLst>
            <pc:docMk/>
            <pc:sldMk cId="1204136801" sldId="5398"/>
            <ac:spMk id="86" creationId="{39E3CF40-BBFB-5854-8C3B-13A5496F40A8}"/>
          </ac:spMkLst>
        </pc:spChg>
        <pc:spChg chg="mod">
          <ac:chgData name="Doerfler, Lena" userId="aeb0559f-200d-4a58-9e6d-125e1b704bf8" providerId="ADAL" clId="{2F42D7B1-B962-445E-8485-41980C3AF6B0}" dt="2023-02-28T09:23:48.913" v="4198" actId="165"/>
          <ac:spMkLst>
            <pc:docMk/>
            <pc:sldMk cId="1204136801" sldId="5398"/>
            <ac:spMk id="87" creationId="{A3A52708-0C04-590A-E9D4-D458A9D5CAFF}"/>
          </ac:spMkLst>
        </pc:spChg>
        <pc:spChg chg="mod topLvl">
          <ac:chgData name="Doerfler, Lena" userId="aeb0559f-200d-4a58-9e6d-125e1b704bf8" providerId="ADAL" clId="{2F42D7B1-B962-445E-8485-41980C3AF6B0}" dt="2023-02-28T12:34:45.550" v="4868" actId="2085"/>
          <ac:spMkLst>
            <pc:docMk/>
            <pc:sldMk cId="1204136801" sldId="5398"/>
            <ac:spMk id="90" creationId="{AA984FF0-9DE8-58C4-42FD-40CF811B157D}"/>
          </ac:spMkLst>
        </pc:spChg>
        <pc:spChg chg="mod topLvl">
          <ac:chgData name="Doerfler, Lena" userId="aeb0559f-200d-4a58-9e6d-125e1b704bf8" providerId="ADAL" clId="{2F42D7B1-B962-445E-8485-41980C3AF6B0}" dt="2023-02-28T12:35:15.816" v="4874" actId="208"/>
          <ac:spMkLst>
            <pc:docMk/>
            <pc:sldMk cId="1204136801" sldId="5398"/>
            <ac:spMk id="91" creationId="{329D1621-1CFC-DA9F-69FE-6CD9C0178FCF}"/>
          </ac:spMkLst>
        </pc:spChg>
        <pc:spChg chg="mod">
          <ac:chgData name="Doerfler, Lena" userId="aeb0559f-200d-4a58-9e6d-125e1b704bf8" providerId="ADAL" clId="{2F42D7B1-B962-445E-8485-41980C3AF6B0}" dt="2023-02-28T09:23:29.105" v="4195" actId="165"/>
          <ac:spMkLst>
            <pc:docMk/>
            <pc:sldMk cId="1204136801" sldId="5398"/>
            <ac:spMk id="96" creationId="{59A4B18E-B885-2AB9-3423-D2DF5A02C1E4}"/>
          </ac:spMkLst>
        </pc:spChg>
        <pc:spChg chg="mod">
          <ac:chgData name="Doerfler, Lena" userId="aeb0559f-200d-4a58-9e6d-125e1b704bf8" providerId="ADAL" clId="{2F42D7B1-B962-445E-8485-41980C3AF6B0}" dt="2023-02-28T09:23:29.105" v="4195" actId="165"/>
          <ac:spMkLst>
            <pc:docMk/>
            <pc:sldMk cId="1204136801" sldId="5398"/>
            <ac:spMk id="97" creationId="{430CFBA1-2DA9-C536-D5A8-B517685D8B56}"/>
          </ac:spMkLst>
        </pc:spChg>
        <pc:spChg chg="mod">
          <ac:chgData name="Doerfler, Lena" userId="aeb0559f-200d-4a58-9e6d-125e1b704bf8" providerId="ADAL" clId="{2F42D7B1-B962-445E-8485-41980C3AF6B0}" dt="2023-02-28T09:23:29.105" v="4195" actId="165"/>
          <ac:spMkLst>
            <pc:docMk/>
            <pc:sldMk cId="1204136801" sldId="5398"/>
            <ac:spMk id="98" creationId="{7DD17627-346F-7819-F3F0-EE8802CA558B}"/>
          </ac:spMkLst>
        </pc:spChg>
        <pc:spChg chg="add mod">
          <ac:chgData name="Doerfler, Lena" userId="aeb0559f-200d-4a58-9e6d-125e1b704bf8" providerId="ADAL" clId="{2F42D7B1-B962-445E-8485-41980C3AF6B0}" dt="2023-02-28T08:23:07.800" v="3907" actId="571"/>
          <ac:spMkLst>
            <pc:docMk/>
            <pc:sldMk cId="1204136801" sldId="5398"/>
            <ac:spMk id="102" creationId="{E8FE1D2B-D40C-FDD8-426B-9BCC47A8D8FF}"/>
          </ac:spMkLst>
        </pc:spChg>
        <pc:spChg chg="mod">
          <ac:chgData name="Doerfler, Lena" userId="aeb0559f-200d-4a58-9e6d-125e1b704bf8" providerId="ADAL" clId="{2F42D7B1-B962-445E-8485-41980C3AF6B0}" dt="2023-02-28T12:34:41.133" v="4867" actId="207"/>
          <ac:spMkLst>
            <pc:docMk/>
            <pc:sldMk cId="1204136801" sldId="5398"/>
            <ac:spMk id="105" creationId="{AADD2A16-A679-9FCF-5324-117C11BFC092}"/>
          </ac:spMkLst>
        </pc:spChg>
        <pc:spChg chg="mod">
          <ac:chgData name="Doerfler, Lena" userId="aeb0559f-200d-4a58-9e6d-125e1b704bf8" providerId="ADAL" clId="{2F42D7B1-B962-445E-8485-41980C3AF6B0}" dt="2023-02-28T12:35:12.793" v="4873" actId="208"/>
          <ac:spMkLst>
            <pc:docMk/>
            <pc:sldMk cId="1204136801" sldId="5398"/>
            <ac:spMk id="106" creationId="{EA54C553-CB43-C44A-4C2B-456E726F59B7}"/>
          </ac:spMkLst>
        </pc:spChg>
        <pc:spChg chg="mod">
          <ac:chgData name="Doerfler, Lena" userId="aeb0559f-200d-4a58-9e6d-125e1b704bf8" providerId="ADAL" clId="{2F42D7B1-B962-445E-8485-41980C3AF6B0}" dt="2023-02-28T12:34:47.844" v="4869" actId="2085"/>
          <ac:spMkLst>
            <pc:docMk/>
            <pc:sldMk cId="1204136801" sldId="5398"/>
            <ac:spMk id="108" creationId="{43A5D814-C718-8B79-799B-365BBF9B2773}"/>
          </ac:spMkLst>
        </pc:spChg>
        <pc:spChg chg="mod">
          <ac:chgData name="Doerfler, Lena" userId="aeb0559f-200d-4a58-9e6d-125e1b704bf8" providerId="ADAL" clId="{2F42D7B1-B962-445E-8485-41980C3AF6B0}" dt="2023-02-28T12:35:20.804" v="4875" actId="208"/>
          <ac:spMkLst>
            <pc:docMk/>
            <pc:sldMk cId="1204136801" sldId="5398"/>
            <ac:spMk id="109" creationId="{3EBA9040-0C4D-3CBF-60A4-2639C8345DA9}"/>
          </ac:spMkLst>
        </pc:spChg>
        <pc:spChg chg="add mod">
          <ac:chgData name="Doerfler, Lena" userId="aeb0559f-200d-4a58-9e6d-125e1b704bf8" providerId="ADAL" clId="{2F42D7B1-B962-445E-8485-41980C3AF6B0}" dt="2023-02-28T08:23:35.288" v="3913" actId="571"/>
          <ac:spMkLst>
            <pc:docMk/>
            <pc:sldMk cId="1204136801" sldId="5398"/>
            <ac:spMk id="110" creationId="{1FA65347-23DA-8690-1CE9-FE1A021B31C8}"/>
          </ac:spMkLst>
        </pc:spChg>
        <pc:spChg chg="mod">
          <ac:chgData name="Doerfler, Lena" userId="aeb0559f-200d-4a58-9e6d-125e1b704bf8" providerId="ADAL" clId="{2F42D7B1-B962-445E-8485-41980C3AF6B0}" dt="2023-02-28T08:23:35.288" v="3913" actId="571"/>
          <ac:spMkLst>
            <pc:docMk/>
            <pc:sldMk cId="1204136801" sldId="5398"/>
            <ac:spMk id="112" creationId="{5894F4BA-4C75-D05B-FD96-AE5FEBA817C3}"/>
          </ac:spMkLst>
        </pc:spChg>
        <pc:spChg chg="mod">
          <ac:chgData name="Doerfler, Lena" userId="aeb0559f-200d-4a58-9e6d-125e1b704bf8" providerId="ADAL" clId="{2F42D7B1-B962-445E-8485-41980C3AF6B0}" dt="2023-02-28T08:23:35.288" v="3913" actId="571"/>
          <ac:spMkLst>
            <pc:docMk/>
            <pc:sldMk cId="1204136801" sldId="5398"/>
            <ac:spMk id="113" creationId="{47E2CA2C-B3DF-9633-2ADB-17E323202391}"/>
          </ac:spMkLst>
        </pc:spChg>
        <pc:spChg chg="mod">
          <ac:chgData name="Doerfler, Lena" userId="aeb0559f-200d-4a58-9e6d-125e1b704bf8" providerId="ADAL" clId="{2F42D7B1-B962-445E-8485-41980C3AF6B0}" dt="2023-02-28T12:34:50.049" v="4870" actId="2085"/>
          <ac:spMkLst>
            <pc:docMk/>
            <pc:sldMk cId="1204136801" sldId="5398"/>
            <ac:spMk id="115" creationId="{76DFEC40-3AFB-BCBF-8E6A-D6FA89CAC8D1}"/>
          </ac:spMkLst>
        </pc:spChg>
        <pc:spChg chg="mod">
          <ac:chgData name="Doerfler, Lena" userId="aeb0559f-200d-4a58-9e6d-125e1b704bf8" providerId="ADAL" clId="{2F42D7B1-B962-445E-8485-41980C3AF6B0}" dt="2023-02-28T12:35:03.149" v="4872" actId="208"/>
          <ac:spMkLst>
            <pc:docMk/>
            <pc:sldMk cId="1204136801" sldId="5398"/>
            <ac:spMk id="116" creationId="{20B6C323-E895-BA4D-9363-C81C143C4888}"/>
          </ac:spMkLst>
        </pc:spChg>
        <pc:spChg chg="add mod ord">
          <ac:chgData name="Doerfler, Lena" userId="aeb0559f-200d-4a58-9e6d-125e1b704bf8" providerId="ADAL" clId="{2F42D7B1-B962-445E-8485-41980C3AF6B0}" dt="2023-02-28T09:23:35.185" v="4196" actId="207"/>
          <ac:spMkLst>
            <pc:docMk/>
            <pc:sldMk cId="1204136801" sldId="5398"/>
            <ac:spMk id="117" creationId="{282F90BA-BF24-3151-CE07-3A3B900DCB1B}"/>
          </ac:spMkLst>
        </pc:spChg>
        <pc:spChg chg="add mod ord topLvl">
          <ac:chgData name="Doerfler, Lena" userId="aeb0559f-200d-4a58-9e6d-125e1b704bf8" providerId="ADAL" clId="{2F42D7B1-B962-445E-8485-41980C3AF6B0}" dt="2023-03-01T07:10:39.300" v="5718" actId="165"/>
          <ac:spMkLst>
            <pc:docMk/>
            <pc:sldMk cId="1204136801" sldId="5398"/>
            <ac:spMk id="118" creationId="{29CECACE-5AD8-894C-FFBF-521064AE12BA}"/>
          </ac:spMkLst>
        </pc:spChg>
        <pc:spChg chg="add del mod">
          <ac:chgData name="Doerfler, Lena" userId="aeb0559f-200d-4a58-9e6d-125e1b704bf8" providerId="ADAL" clId="{2F42D7B1-B962-445E-8485-41980C3AF6B0}" dt="2023-02-28T08:25:05.055" v="3918" actId="478"/>
          <ac:spMkLst>
            <pc:docMk/>
            <pc:sldMk cId="1204136801" sldId="5398"/>
            <ac:spMk id="119" creationId="{7EC5F389-85FA-2F27-4EE3-68972AEEE1E8}"/>
          </ac:spMkLst>
        </pc:spChg>
        <pc:spChg chg="mod">
          <ac:chgData name="Doerfler, Lena" userId="aeb0559f-200d-4a58-9e6d-125e1b704bf8" providerId="ADAL" clId="{2F42D7B1-B962-445E-8485-41980C3AF6B0}" dt="2023-02-28T09:25:59.570" v="4213" actId="165"/>
          <ac:spMkLst>
            <pc:docMk/>
            <pc:sldMk cId="1204136801" sldId="5398"/>
            <ac:spMk id="121" creationId="{EC5B1246-F04D-88A6-5DB2-64CBDE0613F9}"/>
          </ac:spMkLst>
        </pc:spChg>
        <pc:spChg chg="mod">
          <ac:chgData name="Doerfler, Lena" userId="aeb0559f-200d-4a58-9e6d-125e1b704bf8" providerId="ADAL" clId="{2F42D7B1-B962-445E-8485-41980C3AF6B0}" dt="2023-02-28T09:25:59.570" v="4213" actId="165"/>
          <ac:spMkLst>
            <pc:docMk/>
            <pc:sldMk cId="1204136801" sldId="5398"/>
            <ac:spMk id="122" creationId="{3AEA9BF5-490C-7479-C439-1DE1F0171C95}"/>
          </ac:spMkLst>
        </pc:spChg>
        <pc:spChg chg="mod">
          <ac:chgData name="Doerfler, Lena" userId="aeb0559f-200d-4a58-9e6d-125e1b704bf8" providerId="ADAL" clId="{2F42D7B1-B962-445E-8485-41980C3AF6B0}" dt="2023-02-28T09:25:59.570" v="4213" actId="165"/>
          <ac:spMkLst>
            <pc:docMk/>
            <pc:sldMk cId="1204136801" sldId="5398"/>
            <ac:spMk id="123" creationId="{7EB22CD4-072D-2688-BEE2-4E2F3BBD570F}"/>
          </ac:spMkLst>
        </pc:spChg>
        <pc:spChg chg="mod">
          <ac:chgData name="Doerfler, Lena" userId="aeb0559f-200d-4a58-9e6d-125e1b704bf8" providerId="ADAL" clId="{2F42D7B1-B962-445E-8485-41980C3AF6B0}" dt="2023-02-28T12:35:30.612" v="4877" actId="207"/>
          <ac:spMkLst>
            <pc:docMk/>
            <pc:sldMk cId="1204136801" sldId="5398"/>
            <ac:spMk id="128" creationId="{8A49145E-9C44-08EA-CF8C-3FFEE0A8FBC9}"/>
          </ac:spMkLst>
        </pc:spChg>
        <pc:spChg chg="mod">
          <ac:chgData name="Doerfler, Lena" userId="aeb0559f-200d-4a58-9e6d-125e1b704bf8" providerId="ADAL" clId="{2F42D7B1-B962-445E-8485-41980C3AF6B0}" dt="2023-02-28T12:35:46.670" v="4883" actId="208"/>
          <ac:spMkLst>
            <pc:docMk/>
            <pc:sldMk cId="1204136801" sldId="5398"/>
            <ac:spMk id="129" creationId="{49F24511-5DF7-EF1F-B207-D45DEFDABB78}"/>
          </ac:spMkLst>
        </pc:spChg>
        <pc:spChg chg="mod">
          <ac:chgData name="Doerfler, Lena" userId="aeb0559f-200d-4a58-9e6d-125e1b704bf8" providerId="ADAL" clId="{2F42D7B1-B962-445E-8485-41980C3AF6B0}" dt="2023-02-28T12:35:33.165" v="4878" actId="207"/>
          <ac:spMkLst>
            <pc:docMk/>
            <pc:sldMk cId="1204136801" sldId="5398"/>
            <ac:spMk id="131" creationId="{01DD4D43-A8AF-A73C-2E7B-83C09D8E90F1}"/>
          </ac:spMkLst>
        </pc:spChg>
        <pc:spChg chg="mod">
          <ac:chgData name="Doerfler, Lena" userId="aeb0559f-200d-4a58-9e6d-125e1b704bf8" providerId="ADAL" clId="{2F42D7B1-B962-445E-8485-41980C3AF6B0}" dt="2023-02-28T12:35:49.571" v="4884" actId="208"/>
          <ac:spMkLst>
            <pc:docMk/>
            <pc:sldMk cId="1204136801" sldId="5398"/>
            <ac:spMk id="132" creationId="{0F8FB08B-74E9-C4EE-2585-9B9F76C87D7E}"/>
          </ac:spMkLst>
        </pc:spChg>
        <pc:spChg chg="mod">
          <ac:chgData name="Doerfler, Lena" userId="aeb0559f-200d-4a58-9e6d-125e1b704bf8" providerId="ADAL" clId="{2F42D7B1-B962-445E-8485-41980C3AF6B0}" dt="2023-02-28T12:35:27.724" v="4876" actId="207"/>
          <ac:spMkLst>
            <pc:docMk/>
            <pc:sldMk cId="1204136801" sldId="5398"/>
            <ac:spMk id="134" creationId="{E58FF3D1-BD72-999C-B39F-1ADAFD81A2A3}"/>
          </ac:spMkLst>
        </pc:spChg>
        <pc:spChg chg="mod">
          <ac:chgData name="Doerfler, Lena" userId="aeb0559f-200d-4a58-9e6d-125e1b704bf8" providerId="ADAL" clId="{2F42D7B1-B962-445E-8485-41980C3AF6B0}" dt="2023-02-28T12:35:52.170" v="4885" actId="208"/>
          <ac:spMkLst>
            <pc:docMk/>
            <pc:sldMk cId="1204136801" sldId="5398"/>
            <ac:spMk id="135" creationId="{18E536BB-ED72-4912-A852-AC30F1678CDE}"/>
          </ac:spMkLst>
        </pc:spChg>
        <pc:spChg chg="add mod">
          <ac:chgData name="Doerfler, Lena" userId="aeb0559f-200d-4a58-9e6d-125e1b704bf8" providerId="ADAL" clId="{2F42D7B1-B962-445E-8485-41980C3AF6B0}" dt="2023-02-28T09:25:59.570" v="4213" actId="165"/>
          <ac:spMkLst>
            <pc:docMk/>
            <pc:sldMk cId="1204136801" sldId="5398"/>
            <ac:spMk id="136" creationId="{76956D20-4111-C6B5-94E6-A59A276104E0}"/>
          </ac:spMkLst>
        </pc:spChg>
        <pc:spChg chg="mod">
          <ac:chgData name="Doerfler, Lena" userId="aeb0559f-200d-4a58-9e6d-125e1b704bf8" providerId="ADAL" clId="{2F42D7B1-B962-445E-8485-41980C3AF6B0}" dt="2023-02-28T12:35:35.450" v="4879" actId="207"/>
          <ac:spMkLst>
            <pc:docMk/>
            <pc:sldMk cId="1204136801" sldId="5398"/>
            <ac:spMk id="138" creationId="{C9A5C5DD-474A-92CF-F7EF-3C9BB3FF640C}"/>
          </ac:spMkLst>
        </pc:spChg>
        <pc:spChg chg="mod">
          <ac:chgData name="Doerfler, Lena" userId="aeb0559f-200d-4a58-9e6d-125e1b704bf8" providerId="ADAL" clId="{2F42D7B1-B962-445E-8485-41980C3AF6B0}" dt="2023-02-28T12:35:41.253" v="4881" actId="208"/>
          <ac:spMkLst>
            <pc:docMk/>
            <pc:sldMk cId="1204136801" sldId="5398"/>
            <ac:spMk id="139" creationId="{1E9216F4-025E-5778-95CE-D2CD8248D093}"/>
          </ac:spMkLst>
        </pc:spChg>
        <pc:spChg chg="mod">
          <ac:chgData name="Doerfler, Lena" userId="aeb0559f-200d-4a58-9e6d-125e1b704bf8" providerId="ADAL" clId="{2F42D7B1-B962-445E-8485-41980C3AF6B0}" dt="2023-02-28T12:35:38.143" v="4880" actId="207"/>
          <ac:spMkLst>
            <pc:docMk/>
            <pc:sldMk cId="1204136801" sldId="5398"/>
            <ac:spMk id="141" creationId="{022CE8DC-122D-8FC8-5C4D-3654E35BEC70}"/>
          </ac:spMkLst>
        </pc:spChg>
        <pc:spChg chg="mod">
          <ac:chgData name="Doerfler, Lena" userId="aeb0559f-200d-4a58-9e6d-125e1b704bf8" providerId="ADAL" clId="{2F42D7B1-B962-445E-8485-41980C3AF6B0}" dt="2023-02-28T12:35:43.535" v="4882" actId="208"/>
          <ac:spMkLst>
            <pc:docMk/>
            <pc:sldMk cId="1204136801" sldId="5398"/>
            <ac:spMk id="142" creationId="{39D27414-CAFE-96D8-5EAC-D6B1008105CF}"/>
          </ac:spMkLst>
        </pc:spChg>
        <pc:spChg chg="add mod topLvl">
          <ac:chgData name="Doerfler, Lena" userId="aeb0559f-200d-4a58-9e6d-125e1b704bf8" providerId="ADAL" clId="{2F42D7B1-B962-445E-8485-41980C3AF6B0}" dt="2023-02-28T09:27:01.794" v="4224" actId="164"/>
          <ac:spMkLst>
            <pc:docMk/>
            <pc:sldMk cId="1204136801" sldId="5398"/>
            <ac:spMk id="143" creationId="{C3099413-6A4B-08C8-72DA-54DBE794AAF6}"/>
          </ac:spMkLst>
        </pc:spChg>
        <pc:spChg chg="add del mod">
          <ac:chgData name="Doerfler, Lena" userId="aeb0559f-200d-4a58-9e6d-125e1b704bf8" providerId="ADAL" clId="{2F42D7B1-B962-445E-8485-41980C3AF6B0}" dt="2023-02-28T08:27:57.433" v="4054" actId="478"/>
          <ac:spMkLst>
            <pc:docMk/>
            <pc:sldMk cId="1204136801" sldId="5398"/>
            <ac:spMk id="144" creationId="{63468AB1-2EAE-EE99-C26E-651D025817F2}"/>
          </ac:spMkLst>
        </pc:spChg>
        <pc:spChg chg="add mod topLvl">
          <ac:chgData name="Doerfler, Lena" userId="aeb0559f-200d-4a58-9e6d-125e1b704bf8" providerId="ADAL" clId="{2F42D7B1-B962-445E-8485-41980C3AF6B0}" dt="2023-02-28T09:27:01.794" v="4224" actId="164"/>
          <ac:spMkLst>
            <pc:docMk/>
            <pc:sldMk cId="1204136801" sldId="5398"/>
            <ac:spMk id="145" creationId="{B3AF62E7-4DE2-96DE-8BD0-CDB32CF154C4}"/>
          </ac:spMkLst>
        </pc:spChg>
        <pc:spChg chg="add mod topLvl">
          <ac:chgData name="Doerfler, Lena" userId="aeb0559f-200d-4a58-9e6d-125e1b704bf8" providerId="ADAL" clId="{2F42D7B1-B962-445E-8485-41980C3AF6B0}" dt="2023-02-28T09:27:01.794" v="4224" actId="164"/>
          <ac:spMkLst>
            <pc:docMk/>
            <pc:sldMk cId="1204136801" sldId="5398"/>
            <ac:spMk id="146" creationId="{C4AB6B99-89C2-5475-31C7-16F2AC54E60A}"/>
          </ac:spMkLst>
        </pc:spChg>
        <pc:spChg chg="add mod topLvl">
          <ac:chgData name="Doerfler, Lena" userId="aeb0559f-200d-4a58-9e6d-125e1b704bf8" providerId="ADAL" clId="{2F42D7B1-B962-445E-8485-41980C3AF6B0}" dt="2023-02-28T09:27:01.794" v="4224" actId="164"/>
          <ac:spMkLst>
            <pc:docMk/>
            <pc:sldMk cId="1204136801" sldId="5398"/>
            <ac:spMk id="147" creationId="{202F00B6-B258-A987-8162-7949313930FA}"/>
          </ac:spMkLst>
        </pc:spChg>
        <pc:spChg chg="add mod topLvl">
          <ac:chgData name="Doerfler, Lena" userId="aeb0559f-200d-4a58-9e6d-125e1b704bf8" providerId="ADAL" clId="{2F42D7B1-B962-445E-8485-41980C3AF6B0}" dt="2023-02-28T09:27:01.794" v="4224" actId="164"/>
          <ac:spMkLst>
            <pc:docMk/>
            <pc:sldMk cId="1204136801" sldId="5398"/>
            <ac:spMk id="148" creationId="{51DE21A6-3ED1-D7E7-B6B5-4B94E37EAB3D}"/>
          </ac:spMkLst>
        </pc:spChg>
        <pc:spChg chg="add mod topLvl">
          <ac:chgData name="Doerfler, Lena" userId="aeb0559f-200d-4a58-9e6d-125e1b704bf8" providerId="ADAL" clId="{2F42D7B1-B962-445E-8485-41980C3AF6B0}" dt="2023-02-28T09:27:01.794" v="4224" actId="164"/>
          <ac:spMkLst>
            <pc:docMk/>
            <pc:sldMk cId="1204136801" sldId="5398"/>
            <ac:spMk id="149" creationId="{41F03D45-074C-4827-08A6-61D6A554735E}"/>
          </ac:spMkLst>
        </pc:spChg>
        <pc:spChg chg="mod">
          <ac:chgData name="Doerfler, Lena" userId="aeb0559f-200d-4a58-9e6d-125e1b704bf8" providerId="ADAL" clId="{2F42D7B1-B962-445E-8485-41980C3AF6B0}" dt="2023-02-28T09:26:07.562" v="4214" actId="165"/>
          <ac:spMkLst>
            <pc:docMk/>
            <pc:sldMk cId="1204136801" sldId="5398"/>
            <ac:spMk id="151" creationId="{988DC86A-B1FA-3DC3-3C67-5238080D56F7}"/>
          </ac:spMkLst>
        </pc:spChg>
        <pc:spChg chg="mod">
          <ac:chgData name="Doerfler, Lena" userId="aeb0559f-200d-4a58-9e6d-125e1b704bf8" providerId="ADAL" clId="{2F42D7B1-B962-445E-8485-41980C3AF6B0}" dt="2023-02-28T09:26:07.562" v="4214" actId="165"/>
          <ac:spMkLst>
            <pc:docMk/>
            <pc:sldMk cId="1204136801" sldId="5398"/>
            <ac:spMk id="152" creationId="{E6890543-78F5-7E1D-9339-E399BBF371F0}"/>
          </ac:spMkLst>
        </pc:spChg>
        <pc:spChg chg="mod">
          <ac:chgData name="Doerfler, Lena" userId="aeb0559f-200d-4a58-9e6d-125e1b704bf8" providerId="ADAL" clId="{2F42D7B1-B962-445E-8485-41980C3AF6B0}" dt="2023-02-28T09:26:07.562" v="4214" actId="165"/>
          <ac:spMkLst>
            <pc:docMk/>
            <pc:sldMk cId="1204136801" sldId="5398"/>
            <ac:spMk id="153" creationId="{E00A840A-FD93-11A7-B9C3-875B27E3C295}"/>
          </ac:spMkLst>
        </pc:spChg>
        <pc:spChg chg="mod">
          <ac:chgData name="Doerfler, Lena" userId="aeb0559f-200d-4a58-9e6d-125e1b704bf8" providerId="ADAL" clId="{2F42D7B1-B962-445E-8485-41980C3AF6B0}" dt="2023-02-28T09:26:07.562" v="4214" actId="165"/>
          <ac:spMkLst>
            <pc:docMk/>
            <pc:sldMk cId="1204136801" sldId="5398"/>
            <ac:spMk id="156" creationId="{27DE5EAD-B9EC-4D65-33F1-D7CE669E1BEA}"/>
          </ac:spMkLst>
        </pc:spChg>
        <pc:spChg chg="mod">
          <ac:chgData name="Doerfler, Lena" userId="aeb0559f-200d-4a58-9e6d-125e1b704bf8" providerId="ADAL" clId="{2F42D7B1-B962-445E-8485-41980C3AF6B0}" dt="2023-02-28T12:34:02.045" v="4860" actId="207"/>
          <ac:spMkLst>
            <pc:docMk/>
            <pc:sldMk cId="1204136801" sldId="5398"/>
            <ac:spMk id="157" creationId="{55A365CE-C743-A861-67F8-B9B9FBF0D0A8}"/>
          </ac:spMkLst>
        </pc:spChg>
        <pc:spChg chg="mod">
          <ac:chgData name="Doerfler, Lena" userId="aeb0559f-200d-4a58-9e6d-125e1b704bf8" providerId="ADAL" clId="{2F42D7B1-B962-445E-8485-41980C3AF6B0}" dt="2023-02-28T09:26:07.562" v="4214" actId="165"/>
          <ac:spMkLst>
            <pc:docMk/>
            <pc:sldMk cId="1204136801" sldId="5398"/>
            <ac:spMk id="158" creationId="{A1DF0655-4DEE-B35A-67BF-E3720E7C7EAC}"/>
          </ac:spMkLst>
        </pc:spChg>
        <pc:spChg chg="mod">
          <ac:chgData name="Doerfler, Lena" userId="aeb0559f-200d-4a58-9e6d-125e1b704bf8" providerId="ADAL" clId="{2F42D7B1-B962-445E-8485-41980C3AF6B0}" dt="2023-02-28T09:26:07.562" v="4214" actId="165"/>
          <ac:spMkLst>
            <pc:docMk/>
            <pc:sldMk cId="1204136801" sldId="5398"/>
            <ac:spMk id="159" creationId="{CDF99B2B-0C1F-FE83-1178-B6807EA1DBBD}"/>
          </ac:spMkLst>
        </pc:spChg>
        <pc:grpChg chg="add del mod">
          <ac:chgData name="Doerfler, Lena" userId="aeb0559f-200d-4a58-9e6d-125e1b704bf8" providerId="ADAL" clId="{2F42D7B1-B962-445E-8485-41980C3AF6B0}" dt="2023-02-28T09:22:47.253" v="4190" actId="165"/>
          <ac:grpSpMkLst>
            <pc:docMk/>
            <pc:sldMk cId="1204136801" sldId="5398"/>
            <ac:grpSpMk id="3" creationId="{A885ACF9-3B83-C364-B453-28AC60CC1D15}"/>
          </ac:grpSpMkLst>
        </pc:grpChg>
        <pc:grpChg chg="add del mod">
          <ac:chgData name="Doerfler, Lena" userId="aeb0559f-200d-4a58-9e6d-125e1b704bf8" providerId="ADAL" clId="{2F42D7B1-B962-445E-8485-41980C3AF6B0}" dt="2023-02-28T09:23:06.969" v="4192" actId="165"/>
          <ac:grpSpMkLst>
            <pc:docMk/>
            <pc:sldMk cId="1204136801" sldId="5398"/>
            <ac:grpSpMk id="8" creationId="{445B081A-61C7-5404-B66A-C58C9421D147}"/>
          </ac:grpSpMkLst>
        </pc:grpChg>
        <pc:grpChg chg="add mod topLvl">
          <ac:chgData name="Doerfler, Lena" userId="aeb0559f-200d-4a58-9e6d-125e1b704bf8" providerId="ADAL" clId="{2F42D7B1-B962-445E-8485-41980C3AF6B0}" dt="2023-03-01T07:10:39.300" v="5718" actId="165"/>
          <ac:grpSpMkLst>
            <pc:docMk/>
            <pc:sldMk cId="1204136801" sldId="5398"/>
            <ac:grpSpMk id="10" creationId="{044ABD28-4C51-2A74-AC39-14DE6AB7B499}"/>
          </ac:grpSpMkLst>
        </pc:grpChg>
        <pc:grpChg chg="add del mod">
          <ac:chgData name="Doerfler, Lena" userId="aeb0559f-200d-4a58-9e6d-125e1b704bf8" providerId="ADAL" clId="{2F42D7B1-B962-445E-8485-41980C3AF6B0}" dt="2023-02-28T08:16:24.784" v="3835" actId="165"/>
          <ac:grpSpMkLst>
            <pc:docMk/>
            <pc:sldMk cId="1204136801" sldId="5398"/>
            <ac:grpSpMk id="10" creationId="{A61F0293-DFF3-224B-029F-030F26DCE502}"/>
          </ac:grpSpMkLst>
        </pc:grpChg>
        <pc:grpChg chg="add del mod">
          <ac:chgData name="Doerfler, Lena" userId="aeb0559f-200d-4a58-9e6d-125e1b704bf8" providerId="ADAL" clId="{2F42D7B1-B962-445E-8485-41980C3AF6B0}" dt="2023-03-01T07:10:39.300" v="5718" actId="165"/>
          <ac:grpSpMkLst>
            <pc:docMk/>
            <pc:sldMk cId="1204136801" sldId="5398"/>
            <ac:grpSpMk id="15" creationId="{0869F3BC-A2C9-A47C-EDAA-2A3BE4CFD466}"/>
          </ac:grpSpMkLst>
        </pc:grpChg>
        <pc:grpChg chg="mod ord topLvl">
          <ac:chgData name="Doerfler, Lena" userId="aeb0559f-200d-4a58-9e6d-125e1b704bf8" providerId="ADAL" clId="{2F42D7B1-B962-445E-8485-41980C3AF6B0}" dt="2023-03-01T07:10:39.300" v="5718" actId="165"/>
          <ac:grpSpMkLst>
            <pc:docMk/>
            <pc:sldMk cId="1204136801" sldId="5398"/>
            <ac:grpSpMk id="16" creationId="{CF566757-0027-83D5-297D-169A06E9D783}"/>
          </ac:grpSpMkLst>
        </pc:grpChg>
        <pc:grpChg chg="del mod topLvl">
          <ac:chgData name="Doerfler, Lena" userId="aeb0559f-200d-4a58-9e6d-125e1b704bf8" providerId="ADAL" clId="{2F42D7B1-B962-445E-8485-41980C3AF6B0}" dt="2023-02-28T08:16:47.855" v="3838" actId="165"/>
          <ac:grpSpMkLst>
            <pc:docMk/>
            <pc:sldMk cId="1204136801" sldId="5398"/>
            <ac:grpSpMk id="19" creationId="{10EFEB96-E5F0-C76E-7846-D25AE10116F6}"/>
          </ac:grpSpMkLst>
        </pc:grpChg>
        <pc:grpChg chg="add mod">
          <ac:chgData name="Doerfler, Lena" userId="aeb0559f-200d-4a58-9e6d-125e1b704bf8" providerId="ADAL" clId="{2F42D7B1-B962-445E-8485-41980C3AF6B0}" dt="2023-02-28T09:25:54.757" v="4212" actId="164"/>
          <ac:grpSpMkLst>
            <pc:docMk/>
            <pc:sldMk cId="1204136801" sldId="5398"/>
            <ac:grpSpMk id="19" creationId="{49388BD2-B1E7-6A16-F0D3-EAE1AB55B2D8}"/>
          </ac:grpSpMkLst>
        </pc:grpChg>
        <pc:grpChg chg="del mod topLvl">
          <ac:chgData name="Doerfler, Lena" userId="aeb0559f-200d-4a58-9e6d-125e1b704bf8" providerId="ADAL" clId="{2F42D7B1-B962-445E-8485-41980C3AF6B0}" dt="2023-02-28T08:16:54.662" v="3839" actId="165"/>
          <ac:grpSpMkLst>
            <pc:docMk/>
            <pc:sldMk cId="1204136801" sldId="5398"/>
            <ac:grpSpMk id="37" creationId="{24826FE2-A07C-A34A-AC1B-DFCB9215D314}"/>
          </ac:grpSpMkLst>
        </pc:grpChg>
        <pc:grpChg chg="add mod">
          <ac:chgData name="Doerfler, Lena" userId="aeb0559f-200d-4a58-9e6d-125e1b704bf8" providerId="ADAL" clId="{2F42D7B1-B962-445E-8485-41980C3AF6B0}" dt="2023-02-28T09:25:54.757" v="4212" actId="164"/>
          <ac:grpSpMkLst>
            <pc:docMk/>
            <pc:sldMk cId="1204136801" sldId="5398"/>
            <ac:grpSpMk id="37" creationId="{8B0DEEEC-3909-07AD-CD4A-449D3935C57A}"/>
          </ac:grpSpMkLst>
        </pc:grpChg>
        <pc:grpChg chg="mod">
          <ac:chgData name="Doerfler, Lena" userId="aeb0559f-200d-4a58-9e6d-125e1b704bf8" providerId="ADAL" clId="{2F42D7B1-B962-445E-8485-41980C3AF6B0}" dt="2023-03-01T07:10:39.300" v="5718" actId="165"/>
          <ac:grpSpMkLst>
            <pc:docMk/>
            <pc:sldMk cId="1204136801" sldId="5398"/>
            <ac:grpSpMk id="47" creationId="{C8787A0B-D77C-1DDB-03D3-A649021EB654}"/>
          </ac:grpSpMkLst>
        </pc:grpChg>
        <pc:grpChg chg="add mod">
          <ac:chgData name="Doerfler, Lena" userId="aeb0559f-200d-4a58-9e6d-125e1b704bf8" providerId="ADAL" clId="{2F42D7B1-B962-445E-8485-41980C3AF6B0}" dt="2023-02-28T09:27:07.845" v="4225" actId="164"/>
          <ac:grpSpMkLst>
            <pc:docMk/>
            <pc:sldMk cId="1204136801" sldId="5398"/>
            <ac:grpSpMk id="69" creationId="{BF7CDC67-5CD2-A02B-8AD7-6BAC8237C289}"/>
          </ac:grpSpMkLst>
        </pc:grpChg>
        <pc:grpChg chg="add del mod">
          <ac:chgData name="Doerfler, Lena" userId="aeb0559f-200d-4a58-9e6d-125e1b704bf8" providerId="ADAL" clId="{2F42D7B1-B962-445E-8485-41980C3AF6B0}" dt="2023-02-28T08:22:05.407" v="3898" actId="165"/>
          <ac:grpSpMkLst>
            <pc:docMk/>
            <pc:sldMk cId="1204136801" sldId="5398"/>
            <ac:grpSpMk id="69" creationId="{E7F6D166-8255-27DB-51A7-EC7ABC7B22AA}"/>
          </ac:grpSpMkLst>
        </pc:grpChg>
        <pc:grpChg chg="mod ord topLvl">
          <ac:chgData name="Doerfler, Lena" userId="aeb0559f-200d-4a58-9e6d-125e1b704bf8" providerId="ADAL" clId="{2F42D7B1-B962-445E-8485-41980C3AF6B0}" dt="2023-02-28T09:24:42.864" v="4202" actId="164"/>
          <ac:grpSpMkLst>
            <pc:docMk/>
            <pc:sldMk cId="1204136801" sldId="5398"/>
            <ac:grpSpMk id="78" creationId="{7A9DD612-4CF7-562D-ABD8-7076EA4F9DA7}"/>
          </ac:grpSpMkLst>
        </pc:grpChg>
        <pc:grpChg chg="add mod">
          <ac:chgData name="Doerfler, Lena" userId="aeb0559f-200d-4a58-9e6d-125e1b704bf8" providerId="ADAL" clId="{2F42D7B1-B962-445E-8485-41980C3AF6B0}" dt="2023-02-28T09:27:07.845" v="4225" actId="164"/>
          <ac:grpSpMkLst>
            <pc:docMk/>
            <pc:sldMk cId="1204136801" sldId="5398"/>
            <ac:grpSpMk id="88" creationId="{3BDE9ECE-2001-F1C7-1606-7AF8E684B481}"/>
          </ac:grpSpMkLst>
        </pc:grpChg>
        <pc:grpChg chg="add del mod">
          <ac:chgData name="Doerfler, Lena" userId="aeb0559f-200d-4a58-9e6d-125e1b704bf8" providerId="ADAL" clId="{2F42D7B1-B962-445E-8485-41980C3AF6B0}" dt="2023-02-28T08:22:56.951" v="3903" actId="165"/>
          <ac:grpSpMkLst>
            <pc:docMk/>
            <pc:sldMk cId="1204136801" sldId="5398"/>
            <ac:grpSpMk id="88" creationId="{A87CF893-BB56-8A49-3F4B-8DBF94D956BC}"/>
          </ac:grpSpMkLst>
        </pc:grpChg>
        <pc:grpChg chg="mod ord topLvl">
          <ac:chgData name="Doerfler, Lena" userId="aeb0559f-200d-4a58-9e6d-125e1b704bf8" providerId="ADAL" clId="{2F42D7B1-B962-445E-8485-41980C3AF6B0}" dt="2023-02-28T09:23:29.105" v="4195" actId="165"/>
          <ac:grpSpMkLst>
            <pc:docMk/>
            <pc:sldMk cId="1204136801" sldId="5398"/>
            <ac:grpSpMk id="89" creationId="{F01EE14B-4410-A1B8-49DF-CD0EFAF3811A}"/>
          </ac:grpSpMkLst>
        </pc:grpChg>
        <pc:grpChg chg="add mod ord">
          <ac:chgData name="Doerfler, Lena" userId="aeb0559f-200d-4a58-9e6d-125e1b704bf8" providerId="ADAL" clId="{2F42D7B1-B962-445E-8485-41980C3AF6B0}" dt="2023-02-28T09:23:29.105" v="4195" actId="165"/>
          <ac:grpSpMkLst>
            <pc:docMk/>
            <pc:sldMk cId="1204136801" sldId="5398"/>
            <ac:grpSpMk id="103" creationId="{EC5475AF-D16E-2488-5083-D3DFBDAB4335}"/>
          </ac:grpSpMkLst>
        </pc:grpChg>
        <pc:grpChg chg="add mod ord">
          <ac:chgData name="Doerfler, Lena" userId="aeb0559f-200d-4a58-9e6d-125e1b704bf8" providerId="ADAL" clId="{2F42D7B1-B962-445E-8485-41980C3AF6B0}" dt="2023-02-28T09:23:29.105" v="4195" actId="165"/>
          <ac:grpSpMkLst>
            <pc:docMk/>
            <pc:sldMk cId="1204136801" sldId="5398"/>
            <ac:grpSpMk id="104" creationId="{98889952-ADB1-7E9D-D970-96963F022FD9}"/>
          </ac:grpSpMkLst>
        </pc:grpChg>
        <pc:grpChg chg="add mod ord">
          <ac:chgData name="Doerfler, Lena" userId="aeb0559f-200d-4a58-9e6d-125e1b704bf8" providerId="ADAL" clId="{2F42D7B1-B962-445E-8485-41980C3AF6B0}" dt="2023-02-28T09:23:29.105" v="4195" actId="165"/>
          <ac:grpSpMkLst>
            <pc:docMk/>
            <pc:sldMk cId="1204136801" sldId="5398"/>
            <ac:grpSpMk id="107" creationId="{E13853FF-66AD-8145-B39B-B74B94BFE077}"/>
          </ac:grpSpMkLst>
        </pc:grpChg>
        <pc:grpChg chg="add mod">
          <ac:chgData name="Doerfler, Lena" userId="aeb0559f-200d-4a58-9e6d-125e1b704bf8" providerId="ADAL" clId="{2F42D7B1-B962-445E-8485-41980C3AF6B0}" dt="2023-02-28T08:23:35.288" v="3913" actId="571"/>
          <ac:grpSpMkLst>
            <pc:docMk/>
            <pc:sldMk cId="1204136801" sldId="5398"/>
            <ac:grpSpMk id="111" creationId="{E8D1CF8B-491F-C15D-9F32-21C8015307FD}"/>
          </ac:grpSpMkLst>
        </pc:grpChg>
        <pc:grpChg chg="add mod ord">
          <ac:chgData name="Doerfler, Lena" userId="aeb0559f-200d-4a58-9e6d-125e1b704bf8" providerId="ADAL" clId="{2F42D7B1-B962-445E-8485-41980C3AF6B0}" dt="2023-02-28T09:23:29.105" v="4195" actId="165"/>
          <ac:grpSpMkLst>
            <pc:docMk/>
            <pc:sldMk cId="1204136801" sldId="5398"/>
            <ac:grpSpMk id="114" creationId="{63CEE0DF-A596-9F51-6ECD-20B0BFACC388}"/>
          </ac:grpSpMkLst>
        </pc:grpChg>
        <pc:grpChg chg="add mod">
          <ac:chgData name="Doerfler, Lena" userId="aeb0559f-200d-4a58-9e6d-125e1b704bf8" providerId="ADAL" clId="{2F42D7B1-B962-445E-8485-41980C3AF6B0}" dt="2023-02-28T09:25:59.570" v="4213" actId="165"/>
          <ac:grpSpMkLst>
            <pc:docMk/>
            <pc:sldMk cId="1204136801" sldId="5398"/>
            <ac:grpSpMk id="120" creationId="{2023653F-84F4-CFE0-B73D-C50576D90E21}"/>
          </ac:grpSpMkLst>
        </pc:grpChg>
        <pc:grpChg chg="add mod">
          <ac:chgData name="Doerfler, Lena" userId="aeb0559f-200d-4a58-9e6d-125e1b704bf8" providerId="ADAL" clId="{2F42D7B1-B962-445E-8485-41980C3AF6B0}" dt="2023-02-28T09:25:59.570" v="4213" actId="165"/>
          <ac:grpSpMkLst>
            <pc:docMk/>
            <pc:sldMk cId="1204136801" sldId="5398"/>
            <ac:grpSpMk id="127" creationId="{C698BB5D-9175-A822-CE9C-57C8D6322A4F}"/>
          </ac:grpSpMkLst>
        </pc:grpChg>
        <pc:grpChg chg="add mod">
          <ac:chgData name="Doerfler, Lena" userId="aeb0559f-200d-4a58-9e6d-125e1b704bf8" providerId="ADAL" clId="{2F42D7B1-B962-445E-8485-41980C3AF6B0}" dt="2023-02-28T09:25:59.570" v="4213" actId="165"/>
          <ac:grpSpMkLst>
            <pc:docMk/>
            <pc:sldMk cId="1204136801" sldId="5398"/>
            <ac:grpSpMk id="130" creationId="{92D960D7-E7DA-2DC7-2373-45D0FFDC0959}"/>
          </ac:grpSpMkLst>
        </pc:grpChg>
        <pc:grpChg chg="add mod">
          <ac:chgData name="Doerfler, Lena" userId="aeb0559f-200d-4a58-9e6d-125e1b704bf8" providerId="ADAL" clId="{2F42D7B1-B962-445E-8485-41980C3AF6B0}" dt="2023-02-28T09:25:59.570" v="4213" actId="165"/>
          <ac:grpSpMkLst>
            <pc:docMk/>
            <pc:sldMk cId="1204136801" sldId="5398"/>
            <ac:grpSpMk id="133" creationId="{7CBF6547-C167-E82F-CA68-24EC0EA0B535}"/>
          </ac:grpSpMkLst>
        </pc:grpChg>
        <pc:grpChg chg="add mod">
          <ac:chgData name="Doerfler, Lena" userId="aeb0559f-200d-4a58-9e6d-125e1b704bf8" providerId="ADAL" clId="{2F42D7B1-B962-445E-8485-41980C3AF6B0}" dt="2023-02-28T09:25:59.570" v="4213" actId="165"/>
          <ac:grpSpMkLst>
            <pc:docMk/>
            <pc:sldMk cId="1204136801" sldId="5398"/>
            <ac:grpSpMk id="137" creationId="{EDA9DCA3-8832-5344-3981-C45FD298A06B}"/>
          </ac:grpSpMkLst>
        </pc:grpChg>
        <pc:grpChg chg="add mod">
          <ac:chgData name="Doerfler, Lena" userId="aeb0559f-200d-4a58-9e6d-125e1b704bf8" providerId="ADAL" clId="{2F42D7B1-B962-445E-8485-41980C3AF6B0}" dt="2023-02-28T09:25:59.570" v="4213" actId="165"/>
          <ac:grpSpMkLst>
            <pc:docMk/>
            <pc:sldMk cId="1204136801" sldId="5398"/>
            <ac:grpSpMk id="140" creationId="{1B93B4A4-C710-FF1E-C70F-F678D48425FE}"/>
          </ac:grpSpMkLst>
        </pc:grpChg>
        <pc:grpChg chg="add mod topLvl">
          <ac:chgData name="Doerfler, Lena" userId="aeb0559f-200d-4a58-9e6d-125e1b704bf8" providerId="ADAL" clId="{2F42D7B1-B962-445E-8485-41980C3AF6B0}" dt="2023-02-28T09:27:01.794" v="4224" actId="164"/>
          <ac:grpSpMkLst>
            <pc:docMk/>
            <pc:sldMk cId="1204136801" sldId="5398"/>
            <ac:grpSpMk id="150" creationId="{0385728E-FCCB-EC4D-27B1-320B8744F236}"/>
          </ac:grpSpMkLst>
        </pc:grpChg>
        <pc:grpChg chg="add del mod topLvl">
          <ac:chgData name="Doerfler, Lena" userId="aeb0559f-200d-4a58-9e6d-125e1b704bf8" providerId="ADAL" clId="{2F42D7B1-B962-445E-8485-41980C3AF6B0}" dt="2023-02-28T09:21:59.381" v="4182" actId="165"/>
          <ac:grpSpMkLst>
            <pc:docMk/>
            <pc:sldMk cId="1204136801" sldId="5398"/>
            <ac:grpSpMk id="160" creationId="{9F57B5A6-57E5-AC8D-D782-804FE11FD3AD}"/>
          </ac:grpSpMkLst>
        </pc:grpChg>
        <pc:grpChg chg="add del mod topLvl">
          <ac:chgData name="Doerfler, Lena" userId="aeb0559f-200d-4a58-9e6d-125e1b704bf8" providerId="ADAL" clId="{2F42D7B1-B962-445E-8485-41980C3AF6B0}" dt="2023-02-28T09:26:07.562" v="4214" actId="165"/>
          <ac:grpSpMkLst>
            <pc:docMk/>
            <pc:sldMk cId="1204136801" sldId="5398"/>
            <ac:grpSpMk id="161" creationId="{26A5FE1D-F632-1DBF-2F3A-116963F0A8F1}"/>
          </ac:grpSpMkLst>
        </pc:grpChg>
        <pc:grpChg chg="add del mod topLvl">
          <ac:chgData name="Doerfler, Lena" userId="aeb0559f-200d-4a58-9e6d-125e1b704bf8" providerId="ADAL" clId="{2F42D7B1-B962-445E-8485-41980C3AF6B0}" dt="2023-02-28T09:23:48.913" v="4198" actId="165"/>
          <ac:grpSpMkLst>
            <pc:docMk/>
            <pc:sldMk cId="1204136801" sldId="5398"/>
            <ac:grpSpMk id="162" creationId="{09C36E50-A46E-A49B-4721-DAC81DF54ABF}"/>
          </ac:grpSpMkLst>
        </pc:grpChg>
        <pc:grpChg chg="add mod topLvl">
          <ac:chgData name="Doerfler, Lena" userId="aeb0559f-200d-4a58-9e6d-125e1b704bf8" providerId="ADAL" clId="{2F42D7B1-B962-445E-8485-41980C3AF6B0}" dt="2023-02-28T09:27:07.845" v="4225" actId="164"/>
          <ac:grpSpMkLst>
            <pc:docMk/>
            <pc:sldMk cId="1204136801" sldId="5398"/>
            <ac:grpSpMk id="163" creationId="{7AA2046D-60CA-D1FC-C041-F5DE280A0FDB}"/>
          </ac:grpSpMkLst>
        </pc:grpChg>
        <pc:grpChg chg="add mod topLvl">
          <ac:chgData name="Doerfler, Lena" userId="aeb0559f-200d-4a58-9e6d-125e1b704bf8" providerId="ADAL" clId="{2F42D7B1-B962-445E-8485-41980C3AF6B0}" dt="2023-02-28T09:25:54.757" v="4212" actId="164"/>
          <ac:grpSpMkLst>
            <pc:docMk/>
            <pc:sldMk cId="1204136801" sldId="5398"/>
            <ac:grpSpMk id="164" creationId="{4DE9C810-BC41-8A8B-09C5-F0C1721BF26B}"/>
          </ac:grpSpMkLst>
        </pc:grpChg>
        <pc:grpChg chg="add mod topLvl">
          <ac:chgData name="Doerfler, Lena" userId="aeb0559f-200d-4a58-9e6d-125e1b704bf8" providerId="ADAL" clId="{2F42D7B1-B962-445E-8485-41980C3AF6B0}" dt="2023-03-01T07:10:39.300" v="5718" actId="165"/>
          <ac:grpSpMkLst>
            <pc:docMk/>
            <pc:sldMk cId="1204136801" sldId="5398"/>
            <ac:grpSpMk id="165" creationId="{B487121B-C6BD-8605-674F-3992CCDB36E2}"/>
          </ac:grpSpMkLst>
        </pc:grpChg>
        <pc:grpChg chg="add del mod">
          <ac:chgData name="Doerfler, Lena" userId="aeb0559f-200d-4a58-9e6d-125e1b704bf8" providerId="ADAL" clId="{2F42D7B1-B962-445E-8485-41980C3AF6B0}" dt="2023-02-28T09:10:30.027" v="4085" actId="165"/>
          <ac:grpSpMkLst>
            <pc:docMk/>
            <pc:sldMk cId="1204136801" sldId="5398"/>
            <ac:grpSpMk id="166" creationId="{F7BCACB7-B462-D52F-06E3-0DCA3C46C29D}"/>
          </ac:grpSpMkLst>
        </pc:grpChg>
        <pc:grpChg chg="add del mod">
          <ac:chgData name="Doerfler, Lena" userId="aeb0559f-200d-4a58-9e6d-125e1b704bf8" providerId="ADAL" clId="{2F42D7B1-B962-445E-8485-41980C3AF6B0}" dt="2023-02-28T09:23:29.105" v="4195" actId="165"/>
          <ac:grpSpMkLst>
            <pc:docMk/>
            <pc:sldMk cId="1204136801" sldId="5398"/>
            <ac:grpSpMk id="167" creationId="{203FEB80-E60C-816A-0DB4-B59EA5C909C5}"/>
          </ac:grpSpMkLst>
        </pc:grpChg>
        <pc:grpChg chg="add del mod">
          <ac:chgData name="Doerfler, Lena" userId="aeb0559f-200d-4a58-9e6d-125e1b704bf8" providerId="ADAL" clId="{2F42D7B1-B962-445E-8485-41980C3AF6B0}" dt="2023-02-28T09:25:59.570" v="4213" actId="165"/>
          <ac:grpSpMkLst>
            <pc:docMk/>
            <pc:sldMk cId="1204136801" sldId="5398"/>
            <ac:grpSpMk id="168" creationId="{E81735FC-E553-E441-8178-FD9F2A95E0BC}"/>
          </ac:grpSpMkLst>
        </pc:grpChg>
        <pc:graphicFrameChg chg="add mod ord modVis replST">
          <ac:chgData name="Doerfler, Lena" userId="aeb0559f-200d-4a58-9e6d-125e1b704bf8" providerId="ADAL" clId="{2F42D7B1-B962-445E-8485-41980C3AF6B0}" dt="2023-02-28T08:25:38.262" v="4047"/>
          <ac:graphicFrameMkLst>
            <pc:docMk/>
            <pc:sldMk cId="1204136801" sldId="5398"/>
            <ac:graphicFrameMk id="9" creationId="{3A79ADB0-4697-6A80-5B75-4D35B261F17A}"/>
          </ac:graphicFrameMkLst>
        </pc:graphicFrameChg>
        <pc:picChg chg="mod topLvl">
          <ac:chgData name="Doerfler, Lena" userId="aeb0559f-200d-4a58-9e6d-125e1b704bf8" providerId="ADAL" clId="{2F42D7B1-B962-445E-8485-41980C3AF6B0}" dt="2023-03-01T07:10:39.300" v="5718" actId="165"/>
          <ac:picMkLst>
            <pc:docMk/>
            <pc:sldMk cId="1204136801" sldId="5398"/>
            <ac:picMk id="17" creationId="{C4FF57D1-C10E-2E81-8463-360C113B1BBF}"/>
          </ac:picMkLst>
        </pc:picChg>
        <pc:picChg chg="mod">
          <ac:chgData name="Doerfler, Lena" userId="aeb0559f-200d-4a58-9e6d-125e1b704bf8" providerId="ADAL" clId="{2F42D7B1-B962-445E-8485-41980C3AF6B0}" dt="2023-03-01T07:10:39.300" v="5718" actId="165"/>
          <ac:picMkLst>
            <pc:docMk/>
            <pc:sldMk cId="1204136801" sldId="5398"/>
            <ac:picMk id="57" creationId="{1862B110-2417-20B9-D198-0BBAF609ABBE}"/>
          </ac:picMkLst>
        </pc:picChg>
        <pc:picChg chg="mod">
          <ac:chgData name="Doerfler, Lena" userId="aeb0559f-200d-4a58-9e6d-125e1b704bf8" providerId="ADAL" clId="{2F42D7B1-B962-445E-8485-41980C3AF6B0}" dt="2023-03-01T07:10:39.300" v="5718" actId="165"/>
          <ac:picMkLst>
            <pc:docMk/>
            <pc:sldMk cId="1204136801" sldId="5398"/>
            <ac:picMk id="58" creationId="{CB2EA38F-D929-5C8E-912A-781CA6C61FE5}"/>
          </ac:picMkLst>
        </pc:picChg>
        <pc:picChg chg="mod">
          <ac:chgData name="Doerfler, Lena" userId="aeb0559f-200d-4a58-9e6d-125e1b704bf8" providerId="ADAL" clId="{2F42D7B1-B962-445E-8485-41980C3AF6B0}" dt="2023-03-01T07:10:39.300" v="5718" actId="165"/>
          <ac:picMkLst>
            <pc:docMk/>
            <pc:sldMk cId="1204136801" sldId="5398"/>
            <ac:picMk id="59" creationId="{909E8A71-F178-BC5E-8AAE-524114460ADA}"/>
          </ac:picMkLst>
        </pc:picChg>
        <pc:picChg chg="add mod ord topLvl">
          <ac:chgData name="Doerfler, Lena" userId="aeb0559f-200d-4a58-9e6d-125e1b704bf8" providerId="ADAL" clId="{2F42D7B1-B962-445E-8485-41980C3AF6B0}" dt="2023-02-28T09:25:54.757" v="4212" actId="164"/>
          <ac:picMkLst>
            <pc:docMk/>
            <pc:sldMk cId="1204136801" sldId="5398"/>
            <ac:picMk id="64" creationId="{1D579567-AFDD-4BBB-1A2A-0474E9882125}"/>
          </ac:picMkLst>
        </pc:picChg>
        <pc:picChg chg="add mod topLvl">
          <ac:chgData name="Doerfler, Lena" userId="aeb0559f-200d-4a58-9e6d-125e1b704bf8" providerId="ADAL" clId="{2F42D7B1-B962-445E-8485-41980C3AF6B0}" dt="2023-02-28T09:25:54.757" v="4212" actId="164"/>
          <ac:picMkLst>
            <pc:docMk/>
            <pc:sldMk cId="1204136801" sldId="5398"/>
            <ac:picMk id="65" creationId="{1B7CEC9C-FB07-9E7D-E354-CDA907A9281C}"/>
          </ac:picMkLst>
        </pc:picChg>
        <pc:picChg chg="add mod ord topLvl">
          <ac:chgData name="Doerfler, Lena" userId="aeb0559f-200d-4a58-9e6d-125e1b704bf8" providerId="ADAL" clId="{2F42D7B1-B962-445E-8485-41980C3AF6B0}" dt="2023-02-28T09:27:07.845" v="4225" actId="164"/>
          <ac:picMkLst>
            <pc:docMk/>
            <pc:sldMk cId="1204136801" sldId="5398"/>
            <ac:picMk id="66" creationId="{C1093591-E583-709B-903B-FD29863EC908}"/>
          </ac:picMkLst>
        </pc:picChg>
        <pc:picChg chg="add mod topLvl">
          <ac:chgData name="Doerfler, Lena" userId="aeb0559f-200d-4a58-9e6d-125e1b704bf8" providerId="ADAL" clId="{2F42D7B1-B962-445E-8485-41980C3AF6B0}" dt="2023-02-28T09:27:07.845" v="4225" actId="164"/>
          <ac:picMkLst>
            <pc:docMk/>
            <pc:sldMk cId="1204136801" sldId="5398"/>
            <ac:picMk id="67" creationId="{68597CAF-F652-CC14-01A5-C388FE51D094}"/>
          </ac:picMkLst>
        </pc:picChg>
        <pc:picChg chg="add mod ord topLvl">
          <ac:chgData name="Doerfler, Lena" userId="aeb0559f-200d-4a58-9e6d-125e1b704bf8" providerId="ADAL" clId="{2F42D7B1-B962-445E-8485-41980C3AF6B0}" dt="2023-02-28T09:27:07.845" v="4225" actId="164"/>
          <ac:picMkLst>
            <pc:docMk/>
            <pc:sldMk cId="1204136801" sldId="5398"/>
            <ac:picMk id="68" creationId="{C1084D1B-7B36-91EA-BBFD-A99232BBDBF0}"/>
          </ac:picMkLst>
        </pc:picChg>
        <pc:picChg chg="mod">
          <ac:chgData name="Doerfler, Lena" userId="aeb0559f-200d-4a58-9e6d-125e1b704bf8" providerId="ADAL" clId="{2F42D7B1-B962-445E-8485-41980C3AF6B0}" dt="2023-02-28T09:23:29.105" v="4195" actId="165"/>
          <ac:picMkLst>
            <pc:docMk/>
            <pc:sldMk cId="1204136801" sldId="5398"/>
            <ac:picMk id="99" creationId="{8BE47525-463D-3753-D36B-7F5196C2C4EB}"/>
          </ac:picMkLst>
        </pc:picChg>
        <pc:picChg chg="mod">
          <ac:chgData name="Doerfler, Lena" userId="aeb0559f-200d-4a58-9e6d-125e1b704bf8" providerId="ADAL" clId="{2F42D7B1-B962-445E-8485-41980C3AF6B0}" dt="2023-02-28T09:23:29.105" v="4195" actId="165"/>
          <ac:picMkLst>
            <pc:docMk/>
            <pc:sldMk cId="1204136801" sldId="5398"/>
            <ac:picMk id="100" creationId="{D251C2A7-1897-04D4-C902-84E1D04F5872}"/>
          </ac:picMkLst>
        </pc:picChg>
        <pc:picChg chg="mod">
          <ac:chgData name="Doerfler, Lena" userId="aeb0559f-200d-4a58-9e6d-125e1b704bf8" providerId="ADAL" clId="{2F42D7B1-B962-445E-8485-41980C3AF6B0}" dt="2023-02-28T09:23:29.105" v="4195" actId="165"/>
          <ac:picMkLst>
            <pc:docMk/>
            <pc:sldMk cId="1204136801" sldId="5398"/>
            <ac:picMk id="101" creationId="{53E1083A-C228-4EFD-001A-FCD7C5458AA2}"/>
          </ac:picMkLst>
        </pc:picChg>
        <pc:picChg chg="mod">
          <ac:chgData name="Doerfler, Lena" userId="aeb0559f-200d-4a58-9e6d-125e1b704bf8" providerId="ADAL" clId="{2F42D7B1-B962-445E-8485-41980C3AF6B0}" dt="2023-02-28T09:25:59.570" v="4213" actId="165"/>
          <ac:picMkLst>
            <pc:docMk/>
            <pc:sldMk cId="1204136801" sldId="5398"/>
            <ac:picMk id="124" creationId="{8B956FBA-ED1C-12C4-F2CE-0B890D7DDE62}"/>
          </ac:picMkLst>
        </pc:picChg>
        <pc:picChg chg="mod">
          <ac:chgData name="Doerfler, Lena" userId="aeb0559f-200d-4a58-9e6d-125e1b704bf8" providerId="ADAL" clId="{2F42D7B1-B962-445E-8485-41980C3AF6B0}" dt="2023-02-28T09:25:59.570" v="4213" actId="165"/>
          <ac:picMkLst>
            <pc:docMk/>
            <pc:sldMk cId="1204136801" sldId="5398"/>
            <ac:picMk id="125" creationId="{D702E31E-83D8-DE7F-827B-543721B29A26}"/>
          </ac:picMkLst>
        </pc:picChg>
        <pc:picChg chg="mod">
          <ac:chgData name="Doerfler, Lena" userId="aeb0559f-200d-4a58-9e6d-125e1b704bf8" providerId="ADAL" clId="{2F42D7B1-B962-445E-8485-41980C3AF6B0}" dt="2023-02-28T09:25:59.570" v="4213" actId="165"/>
          <ac:picMkLst>
            <pc:docMk/>
            <pc:sldMk cId="1204136801" sldId="5398"/>
            <ac:picMk id="126" creationId="{3F77E694-3FF6-BEC2-393E-A3A41A504BD0}"/>
          </ac:picMkLst>
        </pc:picChg>
        <pc:cxnChg chg="mod ord topLvl">
          <ac:chgData name="Doerfler, Lena" userId="aeb0559f-200d-4a58-9e6d-125e1b704bf8" providerId="ADAL" clId="{2F42D7B1-B962-445E-8485-41980C3AF6B0}" dt="2023-03-01T07:10:39.300" v="5718" actId="165"/>
          <ac:cxnSpMkLst>
            <pc:docMk/>
            <pc:sldMk cId="1204136801" sldId="5398"/>
            <ac:cxnSpMk id="41" creationId="{8CD73677-D617-0F43-5F55-CFF8E177460F}"/>
          </ac:cxnSpMkLst>
        </pc:cxnChg>
        <pc:cxnChg chg="mod ord topLvl">
          <ac:chgData name="Doerfler, Lena" userId="aeb0559f-200d-4a58-9e6d-125e1b704bf8" providerId="ADAL" clId="{2F42D7B1-B962-445E-8485-41980C3AF6B0}" dt="2023-03-01T07:10:39.300" v="5718" actId="165"/>
          <ac:cxnSpMkLst>
            <pc:docMk/>
            <pc:sldMk cId="1204136801" sldId="5398"/>
            <ac:cxnSpMk id="42" creationId="{80B2EE34-F696-FBF0-B941-F7368FC1E422}"/>
          </ac:cxnSpMkLst>
        </pc:cxnChg>
        <pc:cxnChg chg="mod">
          <ac:chgData name="Doerfler, Lena" userId="aeb0559f-200d-4a58-9e6d-125e1b704bf8" providerId="ADAL" clId="{2F42D7B1-B962-445E-8485-41980C3AF6B0}" dt="2023-03-01T07:10:39.300" v="5718" actId="165"/>
          <ac:cxnSpMkLst>
            <pc:docMk/>
            <pc:sldMk cId="1204136801" sldId="5398"/>
            <ac:cxnSpMk id="50" creationId="{9FE9C6A6-3C62-CE21-700B-3AC76B3EA72D}"/>
          </ac:cxnSpMkLst>
        </pc:cxnChg>
        <pc:cxnChg chg="mod">
          <ac:chgData name="Doerfler, Lena" userId="aeb0559f-200d-4a58-9e6d-125e1b704bf8" providerId="ADAL" clId="{2F42D7B1-B962-445E-8485-41980C3AF6B0}" dt="2023-03-01T07:10:39.300" v="5718" actId="165"/>
          <ac:cxnSpMkLst>
            <pc:docMk/>
            <pc:sldMk cId="1204136801" sldId="5398"/>
            <ac:cxnSpMk id="51" creationId="{0C6484E1-CD10-9C7D-1C18-AC490771AEFD}"/>
          </ac:cxnSpMkLst>
        </pc:cxnChg>
        <pc:cxnChg chg="mod">
          <ac:chgData name="Doerfler, Lena" userId="aeb0559f-200d-4a58-9e6d-125e1b704bf8" providerId="ADAL" clId="{2F42D7B1-B962-445E-8485-41980C3AF6B0}" dt="2023-03-01T07:10:39.300" v="5718" actId="165"/>
          <ac:cxnSpMkLst>
            <pc:docMk/>
            <pc:sldMk cId="1204136801" sldId="5398"/>
            <ac:cxnSpMk id="52" creationId="{B8510A3B-893A-65CD-1513-C21BA617E2F3}"/>
          </ac:cxnSpMkLst>
        </pc:cxnChg>
        <pc:cxnChg chg="mod">
          <ac:chgData name="Doerfler, Lena" userId="aeb0559f-200d-4a58-9e6d-125e1b704bf8" providerId="ADAL" clId="{2F42D7B1-B962-445E-8485-41980C3AF6B0}" dt="2023-03-01T07:10:39.300" v="5718" actId="165"/>
          <ac:cxnSpMkLst>
            <pc:docMk/>
            <pc:sldMk cId="1204136801" sldId="5398"/>
            <ac:cxnSpMk id="53" creationId="{EB703026-9AAB-BB3E-DA4A-99C40161587B}"/>
          </ac:cxnSpMkLst>
        </pc:cxnChg>
        <pc:cxnChg chg="mod">
          <ac:chgData name="Doerfler, Lena" userId="aeb0559f-200d-4a58-9e6d-125e1b704bf8" providerId="ADAL" clId="{2F42D7B1-B962-445E-8485-41980C3AF6B0}" dt="2023-02-28T09:24:28.209" v="4201" actId="692"/>
          <ac:cxnSpMkLst>
            <pc:docMk/>
            <pc:sldMk cId="1204136801" sldId="5398"/>
            <ac:cxnSpMk id="82" creationId="{C7AF584C-83FD-EDAD-BEAC-FC0E009345AC}"/>
          </ac:cxnSpMkLst>
        </pc:cxnChg>
        <pc:cxnChg chg="mod">
          <ac:chgData name="Doerfler, Lena" userId="aeb0559f-200d-4a58-9e6d-125e1b704bf8" providerId="ADAL" clId="{2F42D7B1-B962-445E-8485-41980C3AF6B0}" dt="2023-02-28T09:24:23.869" v="4200" actId="692"/>
          <ac:cxnSpMkLst>
            <pc:docMk/>
            <pc:sldMk cId="1204136801" sldId="5398"/>
            <ac:cxnSpMk id="83" creationId="{5E36ABCB-4459-4672-B698-6D4549289E01}"/>
          </ac:cxnSpMkLst>
        </pc:cxnChg>
        <pc:cxnChg chg="del mod topLvl">
          <ac:chgData name="Doerfler, Lena" userId="aeb0559f-200d-4a58-9e6d-125e1b704bf8" providerId="ADAL" clId="{2F42D7B1-B962-445E-8485-41980C3AF6B0}" dt="2023-02-28T08:23:31.765" v="3911" actId="478"/>
          <ac:cxnSpMkLst>
            <pc:docMk/>
            <pc:sldMk cId="1204136801" sldId="5398"/>
            <ac:cxnSpMk id="92" creationId="{D4A089D0-7B45-43DC-8F69-045BF51095B4}"/>
          </ac:cxnSpMkLst>
        </pc:cxnChg>
        <pc:cxnChg chg="del mod topLvl">
          <ac:chgData name="Doerfler, Lena" userId="aeb0559f-200d-4a58-9e6d-125e1b704bf8" providerId="ADAL" clId="{2F42D7B1-B962-445E-8485-41980C3AF6B0}" dt="2023-02-28T08:23:31.765" v="3911" actId="478"/>
          <ac:cxnSpMkLst>
            <pc:docMk/>
            <pc:sldMk cId="1204136801" sldId="5398"/>
            <ac:cxnSpMk id="93" creationId="{4E7D15D0-23C3-AD01-2FAF-ADD7ED4CD7C6}"/>
          </ac:cxnSpMkLst>
        </pc:cxnChg>
        <pc:cxnChg chg="del mod topLvl">
          <ac:chgData name="Doerfler, Lena" userId="aeb0559f-200d-4a58-9e6d-125e1b704bf8" providerId="ADAL" clId="{2F42D7B1-B962-445E-8485-41980C3AF6B0}" dt="2023-02-28T08:23:00.910" v="3905" actId="478"/>
          <ac:cxnSpMkLst>
            <pc:docMk/>
            <pc:sldMk cId="1204136801" sldId="5398"/>
            <ac:cxnSpMk id="94" creationId="{50A39125-1B77-81ED-3D99-F45F81800507}"/>
          </ac:cxnSpMkLst>
        </pc:cxnChg>
        <pc:cxnChg chg="del mod topLvl">
          <ac:chgData name="Doerfler, Lena" userId="aeb0559f-200d-4a58-9e6d-125e1b704bf8" providerId="ADAL" clId="{2F42D7B1-B962-445E-8485-41980C3AF6B0}" dt="2023-02-28T08:22:59.818" v="3904" actId="478"/>
          <ac:cxnSpMkLst>
            <pc:docMk/>
            <pc:sldMk cId="1204136801" sldId="5398"/>
            <ac:cxnSpMk id="95" creationId="{E57CCFDD-2736-E433-892D-875714A9D09A}"/>
          </ac:cxnSpMkLst>
        </pc:cxnChg>
        <pc:cxnChg chg="mod">
          <ac:chgData name="Doerfler, Lena" userId="aeb0559f-200d-4a58-9e6d-125e1b704bf8" providerId="ADAL" clId="{2F42D7B1-B962-445E-8485-41980C3AF6B0}" dt="2023-02-28T09:26:23.171" v="4218" actId="692"/>
          <ac:cxnSpMkLst>
            <pc:docMk/>
            <pc:sldMk cId="1204136801" sldId="5398"/>
            <ac:cxnSpMk id="154" creationId="{B5CD0C59-DD01-08B5-AAE9-9AA0C95E3D84}"/>
          </ac:cxnSpMkLst>
        </pc:cxnChg>
        <pc:cxnChg chg="mod">
          <ac:chgData name="Doerfler, Lena" userId="aeb0559f-200d-4a58-9e6d-125e1b704bf8" providerId="ADAL" clId="{2F42D7B1-B962-445E-8485-41980C3AF6B0}" dt="2023-02-28T09:26:27.362" v="4219" actId="692"/>
          <ac:cxnSpMkLst>
            <pc:docMk/>
            <pc:sldMk cId="1204136801" sldId="5398"/>
            <ac:cxnSpMk id="155" creationId="{C9F6F0DE-D259-E67B-9EF1-9F7748844614}"/>
          </ac:cxnSpMkLst>
        </pc:cxnChg>
      </pc:sldChg>
      <pc:sldChg chg="addSp delSp modSp new add del mod">
        <pc:chgData name="Doerfler, Lena" userId="aeb0559f-200d-4a58-9e6d-125e1b704bf8" providerId="ADAL" clId="{2F42D7B1-B962-445E-8485-41980C3AF6B0}" dt="2023-02-28T09:08:10.684" v="4084" actId="2696"/>
        <pc:sldMkLst>
          <pc:docMk/>
          <pc:sldMk cId="1371320676" sldId="5399"/>
        </pc:sldMkLst>
        <pc:spChg chg="del">
          <ac:chgData name="Doerfler, Lena" userId="aeb0559f-200d-4a58-9e6d-125e1b704bf8" providerId="ADAL" clId="{2F42D7B1-B962-445E-8485-41980C3AF6B0}" dt="2023-02-28T08:31:23.646" v="4079"/>
          <ac:spMkLst>
            <pc:docMk/>
            <pc:sldMk cId="1371320676" sldId="5399"/>
            <ac:spMk id="3" creationId="{76E88B40-EA0E-02DB-A9A6-86C1BA9F944F}"/>
          </ac:spMkLst>
        </pc:spChg>
        <pc:spChg chg="add mod">
          <ac:chgData name="Doerfler, Lena" userId="aeb0559f-200d-4a58-9e6d-125e1b704bf8" providerId="ADAL" clId="{2F42D7B1-B962-445E-8485-41980C3AF6B0}" dt="2023-02-28T08:32:11.682" v="4083" actId="478"/>
          <ac:spMkLst>
            <pc:docMk/>
            <pc:sldMk cId="1371320676" sldId="5399"/>
            <ac:spMk id="13" creationId="{30735BAF-150D-C97C-0F31-F8DD33E6AAE0}"/>
          </ac:spMkLst>
        </pc:spChg>
        <pc:picChg chg="add del mod">
          <ac:chgData name="Doerfler, Lena" userId="aeb0559f-200d-4a58-9e6d-125e1b704bf8" providerId="ADAL" clId="{2F42D7B1-B962-445E-8485-41980C3AF6B0}" dt="2023-02-28T08:32:11.682" v="4083" actId="478"/>
          <ac:picMkLst>
            <pc:docMk/>
            <pc:sldMk cId="1371320676" sldId="5399"/>
            <ac:picMk id="9" creationId="{BA08712B-E9B8-4CFD-396A-46DA8FD15C77}"/>
          </ac:picMkLst>
        </pc:picChg>
        <pc:picChg chg="add del mod">
          <ac:chgData name="Doerfler, Lena" userId="aeb0559f-200d-4a58-9e6d-125e1b704bf8" providerId="ADAL" clId="{2F42D7B1-B962-445E-8485-41980C3AF6B0}" dt="2023-02-28T08:31:28.320" v="4081" actId="478"/>
          <ac:picMkLst>
            <pc:docMk/>
            <pc:sldMk cId="1371320676" sldId="5399"/>
            <ac:picMk id="11" creationId="{6A63522D-A84C-6311-B3F8-E5E149299C98}"/>
          </ac:picMkLst>
        </pc:picChg>
      </pc:sldChg>
      <pc:sldChg chg="add del">
        <pc:chgData name="Doerfler, Lena" userId="aeb0559f-200d-4a58-9e6d-125e1b704bf8" providerId="ADAL" clId="{2F42D7B1-B962-445E-8485-41980C3AF6B0}" dt="2023-03-01T14:15:19.584" v="7230" actId="2696"/>
        <pc:sldMkLst>
          <pc:docMk/>
          <pc:sldMk cId="3945311833" sldId="5399"/>
        </pc:sldMkLst>
      </pc:sldChg>
      <pc:sldChg chg="addSp delSp modSp add del mod ord">
        <pc:chgData name="Doerfler, Lena" userId="aeb0559f-200d-4a58-9e6d-125e1b704bf8" providerId="ADAL" clId="{2F42D7B1-B962-445E-8485-41980C3AF6B0}" dt="2023-03-01T14:16:31.098" v="8309" actId="2696"/>
        <pc:sldMkLst>
          <pc:docMk/>
          <pc:sldMk cId="4148357591" sldId="5400"/>
        </pc:sldMkLst>
        <pc:spChg chg="add mod">
          <ac:chgData name="Doerfler, Lena" userId="aeb0559f-200d-4a58-9e6d-125e1b704bf8" providerId="ADAL" clId="{2F42D7B1-B962-445E-8485-41980C3AF6B0}" dt="2023-03-01T14:15:04.948" v="6109"/>
          <ac:spMkLst>
            <pc:docMk/>
            <pc:sldMk cId="4148357591" sldId="5400"/>
            <ac:spMk id="2" creationId="{AA9C8483-272F-B0E1-24FE-2B394CDE0253}"/>
          </ac:spMkLst>
        </pc:spChg>
        <pc:spChg chg="mod">
          <ac:chgData name="Doerfler, Lena" userId="aeb0559f-200d-4a58-9e6d-125e1b704bf8" providerId="ADAL" clId="{2F42D7B1-B962-445E-8485-41980C3AF6B0}" dt="2023-03-01T14:15:19.170" v="6987" actId="207"/>
          <ac:spMkLst>
            <pc:docMk/>
            <pc:sldMk cId="4148357591" sldId="5400"/>
            <ac:spMk id="3" creationId="{98DF8654-973C-4858-942C-9E98DE0415C9}"/>
          </ac:spMkLst>
        </pc:spChg>
        <pc:spChg chg="mod">
          <ac:chgData name="Doerfler, Lena" userId="aeb0559f-200d-4a58-9e6d-125e1b704bf8" providerId="ADAL" clId="{2F42D7B1-B962-445E-8485-41980C3AF6B0}" dt="2023-03-01T14:15:42.467" v="7473" actId="948"/>
          <ac:spMkLst>
            <pc:docMk/>
            <pc:sldMk cId="4148357591" sldId="5400"/>
            <ac:spMk id="4" creationId="{1BE73BC0-C76D-41AE-8790-1746CD3812D8}"/>
          </ac:spMkLst>
        </pc:spChg>
        <pc:spChg chg="add del mod modVis">
          <ac:chgData name="Doerfler, Lena" userId="aeb0559f-200d-4a58-9e6d-125e1b704bf8" providerId="ADAL" clId="{2F42D7B1-B962-445E-8485-41980C3AF6B0}" dt="2023-03-01T14:15:34.611" v="7284"/>
          <ac:spMkLst>
            <pc:docMk/>
            <pc:sldMk cId="4148357591" sldId="5400"/>
            <ac:spMk id="5" creationId="{EF21BFC7-E472-5819-18A1-6BFFCC08F847}"/>
          </ac:spMkLst>
        </pc:spChg>
        <pc:spChg chg="add del mod modVis">
          <ac:chgData name="Doerfler, Lena" userId="aeb0559f-200d-4a58-9e6d-125e1b704bf8" providerId="ADAL" clId="{2F42D7B1-B962-445E-8485-41980C3AF6B0}" dt="2023-03-01T14:15:35.955" v="7331"/>
          <ac:spMkLst>
            <pc:docMk/>
            <pc:sldMk cId="4148357591" sldId="5400"/>
            <ac:spMk id="7" creationId="{1EF3E3A3-41AB-40EA-3F79-CF38ECC9F08E}"/>
          </ac:spMkLst>
        </pc:spChg>
        <pc:spChg chg="add del mod modVis">
          <ac:chgData name="Doerfler, Lena" userId="aeb0559f-200d-4a58-9e6d-125e1b704bf8" providerId="ADAL" clId="{2F42D7B1-B962-445E-8485-41980C3AF6B0}" dt="2023-03-01T14:15:36.748" v="7376"/>
          <ac:spMkLst>
            <pc:docMk/>
            <pc:sldMk cId="4148357591" sldId="5400"/>
            <ac:spMk id="9" creationId="{BBD2D10C-CF48-8CA3-8C18-D2E980DCA3F4}"/>
          </ac:spMkLst>
        </pc:spChg>
        <pc:spChg chg="add del mod modVis">
          <ac:chgData name="Doerfler, Lena" userId="aeb0559f-200d-4a58-9e6d-125e1b704bf8" providerId="ADAL" clId="{2F42D7B1-B962-445E-8485-41980C3AF6B0}" dt="2023-03-01T14:15:37.919" v="7422"/>
          <ac:spMkLst>
            <pc:docMk/>
            <pc:sldMk cId="4148357591" sldId="5400"/>
            <ac:spMk id="10" creationId="{872834B3-F9C7-8753-CB3B-926FFAE13BF4}"/>
          </ac:spMkLst>
        </pc:spChg>
        <pc:spChg chg="add del mod modVis">
          <ac:chgData name="Doerfler, Lena" userId="aeb0559f-200d-4a58-9e6d-125e1b704bf8" providerId="ADAL" clId="{2F42D7B1-B962-445E-8485-41980C3AF6B0}" dt="2023-03-01T14:15:40.825" v="7469"/>
          <ac:spMkLst>
            <pc:docMk/>
            <pc:sldMk cId="4148357591" sldId="5400"/>
            <ac:spMk id="11" creationId="{B6AB3695-35E1-8B8D-0869-2DC25DAD9D1D}"/>
          </ac:spMkLst>
        </pc:spChg>
        <pc:spChg chg="add del mod modVis">
          <ac:chgData name="Doerfler, Lena" userId="aeb0559f-200d-4a58-9e6d-125e1b704bf8" providerId="ADAL" clId="{2F42D7B1-B962-445E-8485-41980C3AF6B0}" dt="2023-03-01T14:15:42.514" v="7514"/>
          <ac:spMkLst>
            <pc:docMk/>
            <pc:sldMk cId="4148357591" sldId="5400"/>
            <ac:spMk id="12" creationId="{FC187C39-8BBB-3CFC-FC7B-3076940352FF}"/>
          </ac:spMkLst>
        </pc:spChg>
        <pc:graphicFrameChg chg="mod">
          <ac:chgData name="Doerfler, Lena" userId="aeb0559f-200d-4a58-9e6d-125e1b704bf8" providerId="ADAL" clId="{2F42D7B1-B962-445E-8485-41980C3AF6B0}" dt="2023-03-01T14:15:42.517" v="7516"/>
          <ac:graphicFrameMkLst>
            <pc:docMk/>
            <pc:sldMk cId="4148357591" sldId="5400"/>
            <ac:graphicFrameMk id="6" creationId="{CB337494-50C0-0067-26D1-43F4E9BF1A77}"/>
          </ac:graphicFrameMkLst>
        </pc:graphicFrameChg>
      </pc:sldChg>
      <pc:sldChg chg="addSp modSp add del ord">
        <pc:chgData name="Doerfler, Lena" userId="aeb0559f-200d-4a58-9e6d-125e1b704bf8" providerId="ADAL" clId="{2F42D7B1-B962-445E-8485-41980C3AF6B0}" dt="2023-03-01T14:16:31.112" v="8310" actId="2696"/>
        <pc:sldMkLst>
          <pc:docMk/>
          <pc:sldMk cId="2906906841" sldId="5401"/>
        </pc:sldMkLst>
        <pc:spChg chg="add mod">
          <ac:chgData name="Doerfler, Lena" userId="aeb0559f-200d-4a58-9e6d-125e1b704bf8" providerId="ADAL" clId="{2F42D7B1-B962-445E-8485-41980C3AF6B0}" dt="2023-03-01T14:15:05.844" v="6112"/>
          <ac:spMkLst>
            <pc:docMk/>
            <pc:sldMk cId="2906906841" sldId="5401"/>
            <ac:spMk id="3" creationId="{0C1BC0C6-E3C5-D054-88CA-F2824DBD4013}"/>
          </ac:spMkLst>
        </pc:spChg>
        <pc:spChg chg="add mod">
          <ac:chgData name="Doerfler, Lena" userId="aeb0559f-200d-4a58-9e6d-125e1b704bf8" providerId="ADAL" clId="{2F42D7B1-B962-445E-8485-41980C3AF6B0}" dt="2023-03-01T14:15:05.845" v="6113"/>
          <ac:spMkLst>
            <pc:docMk/>
            <pc:sldMk cId="2906906841" sldId="5401"/>
            <ac:spMk id="5" creationId="{F267360B-E950-BAAA-6A4C-AD0036EFDB43}"/>
          </ac:spMkLst>
        </pc:spChg>
        <pc:spChg chg="add mod">
          <ac:chgData name="Doerfler, Lena" userId="aeb0559f-200d-4a58-9e6d-125e1b704bf8" providerId="ADAL" clId="{2F42D7B1-B962-445E-8485-41980C3AF6B0}" dt="2023-03-01T14:15:05.846" v="6114"/>
          <ac:spMkLst>
            <pc:docMk/>
            <pc:sldMk cId="2906906841" sldId="5401"/>
            <ac:spMk id="6" creationId="{FF223C05-3CE3-9FA6-5368-1D88C407F498}"/>
          </ac:spMkLst>
        </pc:spChg>
      </pc:sldChg>
      <pc:sldChg chg="addSp modSp add del mod ord">
        <pc:chgData name="Doerfler, Lena" userId="aeb0559f-200d-4a58-9e6d-125e1b704bf8" providerId="ADAL" clId="{2F42D7B1-B962-445E-8485-41980C3AF6B0}" dt="2023-03-01T14:16:31.197" v="8311" actId="2696"/>
        <pc:sldMkLst>
          <pc:docMk/>
          <pc:sldMk cId="379832839" sldId="5402"/>
        </pc:sldMkLst>
        <pc:spChg chg="add mod">
          <ac:chgData name="Doerfler, Lena" userId="aeb0559f-200d-4a58-9e6d-125e1b704bf8" providerId="ADAL" clId="{2F42D7B1-B962-445E-8485-41980C3AF6B0}" dt="2023-03-01T14:15:06.358" v="6117"/>
          <ac:spMkLst>
            <pc:docMk/>
            <pc:sldMk cId="379832839" sldId="5402"/>
            <ac:spMk id="5" creationId="{5FAE80CF-BCF5-BA42-FED5-DF9876DD1023}"/>
          </ac:spMkLst>
        </pc:spChg>
        <pc:spChg chg="add mod">
          <ac:chgData name="Doerfler, Lena" userId="aeb0559f-200d-4a58-9e6d-125e1b704bf8" providerId="ADAL" clId="{2F42D7B1-B962-445E-8485-41980C3AF6B0}" dt="2023-03-01T14:15:06.359" v="6118"/>
          <ac:spMkLst>
            <pc:docMk/>
            <pc:sldMk cId="379832839" sldId="5402"/>
            <ac:spMk id="6" creationId="{B3396D73-F0FB-9F54-F38C-19F1F123159B}"/>
          </ac:spMkLst>
        </pc:spChg>
        <pc:spChg chg="add mod">
          <ac:chgData name="Doerfler, Lena" userId="aeb0559f-200d-4a58-9e6d-125e1b704bf8" providerId="ADAL" clId="{2F42D7B1-B962-445E-8485-41980C3AF6B0}" dt="2023-03-01T14:15:06.360" v="6119"/>
          <ac:spMkLst>
            <pc:docMk/>
            <pc:sldMk cId="379832839" sldId="5402"/>
            <ac:spMk id="9" creationId="{923968C0-AFE6-0FAE-7A19-EAEA80653B1C}"/>
          </ac:spMkLst>
        </pc:spChg>
        <pc:spChg chg="mod">
          <ac:chgData name="Doerfler, Lena" userId="aeb0559f-200d-4a58-9e6d-125e1b704bf8" providerId="ADAL" clId="{2F42D7B1-B962-445E-8485-41980C3AF6B0}" dt="2023-03-01T14:15:19.534" v="7183" actId="208"/>
          <ac:spMkLst>
            <pc:docMk/>
            <pc:sldMk cId="379832839" sldId="5402"/>
            <ac:spMk id="31" creationId="{09A6E064-A35C-BF7E-096A-0C6C7ACFE614}"/>
          </ac:spMkLst>
        </pc:spChg>
        <pc:picChg chg="mod">
          <ac:chgData name="Doerfler, Lena" userId="aeb0559f-200d-4a58-9e6d-125e1b704bf8" providerId="ADAL" clId="{2F42D7B1-B962-445E-8485-41980C3AF6B0}" dt="2023-03-01T14:15:19.256" v="7025" actId="207"/>
          <ac:picMkLst>
            <pc:docMk/>
            <pc:sldMk cId="379832839" sldId="5402"/>
            <ac:picMk id="3" creationId="{8E4BF4D8-E3A0-18F6-D278-6F5E7782175E}"/>
          </ac:picMkLst>
        </pc:picChg>
        <pc:picChg chg="mod">
          <ac:chgData name="Doerfler, Lena" userId="aeb0559f-200d-4a58-9e6d-125e1b704bf8" providerId="ADAL" clId="{2F42D7B1-B962-445E-8485-41980C3AF6B0}" dt="2023-03-01T14:15:19.237" v="7021" actId="207"/>
          <ac:picMkLst>
            <pc:docMk/>
            <pc:sldMk cId="379832839" sldId="5402"/>
            <ac:picMk id="4" creationId="{E59D6BA2-C5C4-00F7-76AD-CB5B0B4BA3FC}"/>
          </ac:picMkLst>
        </pc:picChg>
        <pc:picChg chg="mod">
          <ac:chgData name="Doerfler, Lena" userId="aeb0559f-200d-4a58-9e6d-125e1b704bf8" providerId="ADAL" clId="{2F42D7B1-B962-445E-8485-41980C3AF6B0}" dt="2023-03-01T14:15:19.261" v="7027" actId="207"/>
          <ac:picMkLst>
            <pc:docMk/>
            <pc:sldMk cId="379832839" sldId="5402"/>
            <ac:picMk id="10" creationId="{EE6A415A-8208-D80F-3D4B-F397CB170886}"/>
          </ac:picMkLst>
        </pc:picChg>
        <pc:picChg chg="mod">
          <ac:chgData name="Doerfler, Lena" userId="aeb0559f-200d-4a58-9e6d-125e1b704bf8" providerId="ADAL" clId="{2F42D7B1-B962-445E-8485-41980C3AF6B0}" dt="2023-03-01T14:15:19.244" v="7023" actId="207"/>
          <ac:picMkLst>
            <pc:docMk/>
            <pc:sldMk cId="379832839" sldId="5402"/>
            <ac:picMk id="12" creationId="{5CD3E042-AD39-A2A6-CB5A-C9F8F15BDB6C}"/>
          </ac:picMkLst>
        </pc:picChg>
        <pc:picChg chg="mod">
          <ac:chgData name="Doerfler, Lena" userId="aeb0559f-200d-4a58-9e6d-125e1b704bf8" providerId="ADAL" clId="{2F42D7B1-B962-445E-8485-41980C3AF6B0}" dt="2023-03-01T14:15:19.276" v="7031" actId="207"/>
          <ac:picMkLst>
            <pc:docMk/>
            <pc:sldMk cId="379832839" sldId="5402"/>
            <ac:picMk id="21" creationId="{BCC44B32-F903-A940-05A6-1C2058DEB2F6}"/>
          </ac:picMkLst>
        </pc:picChg>
        <pc:picChg chg="mod">
          <ac:chgData name="Doerfler, Lena" userId="aeb0559f-200d-4a58-9e6d-125e1b704bf8" providerId="ADAL" clId="{2F42D7B1-B962-445E-8485-41980C3AF6B0}" dt="2023-03-01T14:15:19.269" v="7029" actId="207"/>
          <ac:picMkLst>
            <pc:docMk/>
            <pc:sldMk cId="379832839" sldId="5402"/>
            <ac:picMk id="22" creationId="{19E9F7D5-81D2-C20E-AD0B-D85EF400442A}"/>
          </ac:picMkLst>
        </pc:picChg>
      </pc:sldChg>
      <pc:sldChg chg="addSp modSp add del mod ord">
        <pc:chgData name="Doerfler, Lena" userId="aeb0559f-200d-4a58-9e6d-125e1b704bf8" providerId="ADAL" clId="{2F42D7B1-B962-445E-8485-41980C3AF6B0}" dt="2023-03-01T14:16:31.228" v="8312" actId="2696"/>
        <pc:sldMkLst>
          <pc:docMk/>
          <pc:sldMk cId="2100584826" sldId="5403"/>
        </pc:sldMkLst>
        <pc:spChg chg="add mod">
          <ac:chgData name="Doerfler, Lena" userId="aeb0559f-200d-4a58-9e6d-125e1b704bf8" providerId="ADAL" clId="{2F42D7B1-B962-445E-8485-41980C3AF6B0}" dt="2023-03-01T14:15:06.909" v="6122"/>
          <ac:spMkLst>
            <pc:docMk/>
            <pc:sldMk cId="2100584826" sldId="5403"/>
            <ac:spMk id="2" creationId="{C5282229-3E45-C9EB-4C37-DE785CD77C43}"/>
          </ac:spMkLst>
        </pc:spChg>
        <pc:spChg chg="add mod">
          <ac:chgData name="Doerfler, Lena" userId="aeb0559f-200d-4a58-9e6d-125e1b704bf8" providerId="ADAL" clId="{2F42D7B1-B962-445E-8485-41980C3AF6B0}" dt="2023-03-01T14:15:06.910" v="6123"/>
          <ac:spMkLst>
            <pc:docMk/>
            <pc:sldMk cId="2100584826" sldId="5403"/>
            <ac:spMk id="3" creationId="{00494EBE-4913-0347-0191-2B2290DA6480}"/>
          </ac:spMkLst>
        </pc:spChg>
        <pc:spChg chg="add mod">
          <ac:chgData name="Doerfler, Lena" userId="aeb0559f-200d-4a58-9e6d-125e1b704bf8" providerId="ADAL" clId="{2F42D7B1-B962-445E-8485-41980C3AF6B0}" dt="2023-03-01T14:15:06.911" v="6124"/>
          <ac:spMkLst>
            <pc:docMk/>
            <pc:sldMk cId="2100584826" sldId="5403"/>
            <ac:spMk id="4" creationId="{B56955AC-165F-C8F6-134C-FD5FF6212F87}"/>
          </ac:spMkLst>
        </pc:spChg>
        <pc:spChg chg="mod">
          <ac:chgData name="Doerfler, Lena" userId="aeb0559f-200d-4a58-9e6d-125e1b704bf8" providerId="ADAL" clId="{2F42D7B1-B962-445E-8485-41980C3AF6B0}" dt="2023-03-01T14:15:06.965" v="6140"/>
          <ac:spMkLst>
            <pc:docMk/>
            <pc:sldMk cId="2100584826" sldId="5403"/>
            <ac:spMk id="8" creationId="{FA837AF0-DD98-41C6-4768-E3F5C67CF485}"/>
          </ac:spMkLst>
        </pc:spChg>
        <pc:spChg chg="mod">
          <ac:chgData name="Doerfler, Lena" userId="aeb0559f-200d-4a58-9e6d-125e1b704bf8" providerId="ADAL" clId="{2F42D7B1-B962-445E-8485-41980C3AF6B0}" dt="2023-03-01T14:15:07.005" v="6220"/>
          <ac:spMkLst>
            <pc:docMk/>
            <pc:sldMk cId="2100584826" sldId="5403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3-01T14:15:06.988" v="6180"/>
          <ac:spMkLst>
            <pc:docMk/>
            <pc:sldMk cId="2100584826" sldId="5403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3-01T14:15:06.991" v="6188"/>
          <ac:spMkLst>
            <pc:docMk/>
            <pc:sldMk cId="2100584826" sldId="5403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3-01T14:15:06.994" v="6196"/>
          <ac:spMkLst>
            <pc:docMk/>
            <pc:sldMk cId="2100584826" sldId="5403"/>
            <ac:spMk id="50" creationId="{77D819D9-9ACA-43B9-9E35-63FEDEDBD01D}"/>
          </ac:spMkLst>
        </pc:spChg>
        <pc:spChg chg="mod">
          <ac:chgData name="Doerfler, Lena" userId="aeb0559f-200d-4a58-9e6d-125e1b704bf8" providerId="ADAL" clId="{2F42D7B1-B962-445E-8485-41980C3AF6B0}" dt="2023-03-01T14:15:07" v="6212"/>
          <ac:spMkLst>
            <pc:docMk/>
            <pc:sldMk cId="2100584826" sldId="5403"/>
            <ac:spMk id="75" creationId="{86E4ABC5-D012-4113-86CA-45BAE3E7E9AA}"/>
          </ac:spMkLst>
        </pc:spChg>
        <pc:spChg chg="mod">
          <ac:chgData name="Doerfler, Lena" userId="aeb0559f-200d-4a58-9e6d-125e1b704bf8" providerId="ADAL" clId="{2F42D7B1-B962-445E-8485-41980C3AF6B0}" dt="2023-03-01T14:15:19.410" v="7083" actId="207"/>
          <ac:spMkLst>
            <pc:docMk/>
            <pc:sldMk cId="2100584826" sldId="5403"/>
            <ac:spMk id="93" creationId="{4B8B34FB-BE0A-41CC-9ED7-8A4D955358B2}"/>
          </ac:spMkLst>
        </pc:spChg>
        <pc:spChg chg="mod">
          <ac:chgData name="Doerfler, Lena" userId="aeb0559f-200d-4a58-9e6d-125e1b704bf8" providerId="ADAL" clId="{2F42D7B1-B962-445E-8485-41980C3AF6B0}" dt="2023-03-01T14:15:19.412" v="7085" actId="207"/>
          <ac:spMkLst>
            <pc:docMk/>
            <pc:sldMk cId="2100584826" sldId="5403"/>
            <ac:spMk id="95" creationId="{0F684D99-F0A9-4CD5-BFF8-58063E153CF8}"/>
          </ac:spMkLst>
        </pc:spChg>
        <pc:spChg chg="mod">
          <ac:chgData name="Doerfler, Lena" userId="aeb0559f-200d-4a58-9e6d-125e1b704bf8" providerId="ADAL" clId="{2F42D7B1-B962-445E-8485-41980C3AF6B0}" dt="2023-03-01T14:15:19.413" v="7087" actId="207"/>
          <ac:spMkLst>
            <pc:docMk/>
            <pc:sldMk cId="2100584826" sldId="5403"/>
            <ac:spMk id="102" creationId="{81D11542-C8C9-438B-93D2-CFD2AB6D4FDF}"/>
          </ac:spMkLst>
        </pc:spChg>
        <pc:grpChg chg="mod">
          <ac:chgData name="Doerfler, Lena" userId="aeb0559f-200d-4a58-9e6d-125e1b704bf8" providerId="ADAL" clId="{2F42D7B1-B962-445E-8485-41980C3AF6B0}" dt="2023-03-01T14:15:06.991" v="6188"/>
          <ac:grpSpMkLst>
            <pc:docMk/>
            <pc:sldMk cId="2100584826" sldId="5403"/>
            <ac:grpSpMk id="6" creationId="{A4900D07-B183-415B-8C9F-9D663FD11449}"/>
          </ac:grpSpMkLst>
        </pc:grpChg>
        <pc:grpChg chg="mod">
          <ac:chgData name="Doerfler, Lena" userId="aeb0559f-200d-4a58-9e6d-125e1b704bf8" providerId="ADAL" clId="{2F42D7B1-B962-445E-8485-41980C3AF6B0}" dt="2023-03-01T14:15:07.076" v="6307"/>
          <ac:grpSpMkLst>
            <pc:docMk/>
            <pc:sldMk cId="2100584826" sldId="5403"/>
            <ac:grpSpMk id="27" creationId="{A151701C-BDB6-31CC-299D-27D87087040E}"/>
          </ac:grpSpMkLst>
        </pc:grpChg>
        <pc:picChg chg="mod">
          <ac:chgData name="Doerfler, Lena" userId="aeb0559f-200d-4a58-9e6d-125e1b704bf8" providerId="ADAL" clId="{2F42D7B1-B962-445E-8485-41980C3AF6B0}" dt="2023-03-01T14:15:19.443" v="7111" actId="207"/>
          <ac:picMkLst>
            <pc:docMk/>
            <pc:sldMk cId="2100584826" sldId="5403"/>
            <ac:picMk id="25" creationId="{43266FE7-07B3-C1BB-894E-5E66127D0B1E}"/>
          </ac:picMkLst>
        </pc:picChg>
        <pc:picChg chg="mod">
          <ac:chgData name="Doerfler, Lena" userId="aeb0559f-200d-4a58-9e6d-125e1b704bf8" providerId="ADAL" clId="{2F42D7B1-B962-445E-8485-41980C3AF6B0}" dt="2023-03-01T14:15:19.281" v="7033" actId="207"/>
          <ac:picMkLst>
            <pc:docMk/>
            <pc:sldMk cId="2100584826" sldId="5403"/>
            <ac:picMk id="26" creationId="{3D2C0374-021E-B508-6A33-BFBF293D1616}"/>
          </ac:picMkLst>
        </pc:picChg>
        <pc:picChg chg="mod">
          <ac:chgData name="Doerfler, Lena" userId="aeb0559f-200d-4a58-9e6d-125e1b704bf8" providerId="ADAL" clId="{2F42D7B1-B962-445E-8485-41980C3AF6B0}" dt="2023-03-01T14:15:07.075" v="6306"/>
          <ac:picMkLst>
            <pc:docMk/>
            <pc:sldMk cId="2100584826" sldId="5403"/>
            <ac:picMk id="28" creationId="{D067FBC3-5402-282D-45D0-668A712B2E02}"/>
          </ac:picMkLst>
        </pc:picChg>
        <pc:picChg chg="mod">
          <ac:chgData name="Doerfler, Lena" userId="aeb0559f-200d-4a58-9e6d-125e1b704bf8" providerId="ADAL" clId="{2F42D7B1-B962-445E-8485-41980C3AF6B0}" dt="2023-03-01T14:15:07.042" v="6263"/>
          <ac:picMkLst>
            <pc:docMk/>
            <pc:sldMk cId="2100584826" sldId="5403"/>
            <ac:picMk id="35" creationId="{DD60EB35-9BB9-45DD-8BF4-0BF6AA36BA11}"/>
          </ac:picMkLst>
        </pc:picChg>
        <pc:picChg chg="mod">
          <ac:chgData name="Doerfler, Lena" userId="aeb0559f-200d-4a58-9e6d-125e1b704bf8" providerId="ADAL" clId="{2F42D7B1-B962-445E-8485-41980C3AF6B0}" dt="2023-03-01T14:15:07.049" v="6274"/>
          <ac:picMkLst>
            <pc:docMk/>
            <pc:sldMk cId="2100584826" sldId="5403"/>
            <ac:picMk id="36" creationId="{D62DAAFC-2903-4D94-9DC7-200771D7C98A}"/>
          </ac:picMkLst>
        </pc:picChg>
        <pc:picChg chg="mod">
          <ac:chgData name="Doerfler, Lena" userId="aeb0559f-200d-4a58-9e6d-125e1b704bf8" providerId="ADAL" clId="{2F42D7B1-B962-445E-8485-41980C3AF6B0}" dt="2023-03-01T14:15:07.075" v="6306"/>
          <ac:picMkLst>
            <pc:docMk/>
            <pc:sldMk cId="2100584826" sldId="5403"/>
            <ac:picMk id="51" creationId="{99CBA120-BC5B-6386-281C-F4EC4AB831F8}"/>
          </ac:picMkLst>
        </pc:picChg>
        <pc:cxnChg chg="mod">
          <ac:chgData name="Doerfler, Lena" userId="aeb0559f-200d-4a58-9e6d-125e1b704bf8" providerId="ADAL" clId="{2F42D7B1-B962-445E-8485-41980C3AF6B0}" dt="2023-03-01T14:15:06.991" v="6188"/>
          <ac:cxnSpMkLst>
            <pc:docMk/>
            <pc:sldMk cId="2100584826" sldId="5403"/>
            <ac:cxnSpMk id="38" creationId="{752F9CE5-C7F2-46EE-8262-0A9C453A8662}"/>
          </ac:cxnSpMkLst>
        </pc:cxnChg>
        <pc:cxnChg chg="mod">
          <ac:chgData name="Doerfler, Lena" userId="aeb0559f-200d-4a58-9e6d-125e1b704bf8" providerId="ADAL" clId="{2F42D7B1-B962-445E-8485-41980C3AF6B0}" dt="2023-03-01T14:15:06.997" v="6204"/>
          <ac:cxnSpMkLst>
            <pc:docMk/>
            <pc:sldMk cId="2100584826" sldId="5403"/>
            <ac:cxnSpMk id="77" creationId="{4FEAE43D-A276-41C7-AB7D-3554192E7DBB}"/>
          </ac:cxnSpMkLst>
        </pc:cxnChg>
      </pc:sldChg>
      <pc:sldChg chg="addSp modSp add del mod ord">
        <pc:chgData name="Doerfler, Lena" userId="aeb0559f-200d-4a58-9e6d-125e1b704bf8" providerId="ADAL" clId="{2F42D7B1-B962-445E-8485-41980C3AF6B0}" dt="2023-03-01T14:16:31.261" v="8313" actId="2696"/>
        <pc:sldMkLst>
          <pc:docMk/>
          <pc:sldMk cId="1704198380" sldId="5404"/>
        </pc:sldMkLst>
        <pc:spChg chg="add mod">
          <ac:chgData name="Doerfler, Lena" userId="aeb0559f-200d-4a58-9e6d-125e1b704bf8" providerId="ADAL" clId="{2F42D7B1-B962-445E-8485-41980C3AF6B0}" dt="2023-03-01T14:15:07.622" v="6310"/>
          <ac:spMkLst>
            <pc:docMk/>
            <pc:sldMk cId="1704198380" sldId="5404"/>
            <ac:spMk id="3" creationId="{8F436C51-635C-151C-CF5C-C2674464467C}"/>
          </ac:spMkLst>
        </pc:spChg>
        <pc:spChg chg="add mod">
          <ac:chgData name="Doerfler, Lena" userId="aeb0559f-200d-4a58-9e6d-125e1b704bf8" providerId="ADAL" clId="{2F42D7B1-B962-445E-8485-41980C3AF6B0}" dt="2023-03-01T14:15:07.624" v="6311"/>
          <ac:spMkLst>
            <pc:docMk/>
            <pc:sldMk cId="1704198380" sldId="5404"/>
            <ac:spMk id="4" creationId="{D92B0E8B-8ACE-CD03-72DE-0FC3EC22D699}"/>
          </ac:spMkLst>
        </pc:spChg>
        <pc:spChg chg="add mod">
          <ac:chgData name="Doerfler, Lena" userId="aeb0559f-200d-4a58-9e6d-125e1b704bf8" providerId="ADAL" clId="{2F42D7B1-B962-445E-8485-41980C3AF6B0}" dt="2023-03-01T14:15:07.626" v="6312"/>
          <ac:spMkLst>
            <pc:docMk/>
            <pc:sldMk cId="1704198380" sldId="5404"/>
            <ac:spMk id="5" creationId="{71B09383-CECF-652A-C3BF-4B439DF5492A}"/>
          </ac:spMkLst>
        </pc:spChg>
        <pc:spChg chg="mod">
          <ac:chgData name="Doerfler, Lena" userId="aeb0559f-200d-4a58-9e6d-125e1b704bf8" providerId="ADAL" clId="{2F42D7B1-B962-445E-8485-41980C3AF6B0}" dt="2023-03-01T14:15:19.418" v="7093" actId="207"/>
          <ac:spMkLst>
            <pc:docMk/>
            <pc:sldMk cId="1704198380" sldId="5404"/>
            <ac:spMk id="158" creationId="{79789B14-85A9-4A75-8F18-BF292E474850}"/>
          </ac:spMkLst>
        </pc:spChg>
        <pc:spChg chg="mod">
          <ac:chgData name="Doerfler, Lena" userId="aeb0559f-200d-4a58-9e6d-125e1b704bf8" providerId="ADAL" clId="{2F42D7B1-B962-445E-8485-41980C3AF6B0}" dt="2023-03-01T14:15:19.416" v="7091" actId="207"/>
          <ac:spMkLst>
            <pc:docMk/>
            <pc:sldMk cId="1704198380" sldId="5404"/>
            <ac:spMk id="162" creationId="{8030D285-078A-4025-BDC5-3640B519198A}"/>
          </ac:spMkLst>
        </pc:spChg>
        <pc:spChg chg="mod">
          <ac:chgData name="Doerfler, Lena" userId="aeb0559f-200d-4a58-9e6d-125e1b704bf8" providerId="ADAL" clId="{2F42D7B1-B962-445E-8485-41980C3AF6B0}" dt="2023-03-01T14:15:19.415" v="7089" actId="207"/>
          <ac:spMkLst>
            <pc:docMk/>
            <pc:sldMk cId="1704198380" sldId="5404"/>
            <ac:spMk id="190" creationId="{FA717EC3-A8A9-4F53-8790-5A83DEA4C6FD}"/>
          </ac:spMkLst>
        </pc:spChg>
        <pc:picChg chg="mod">
          <ac:chgData name="Doerfler, Lena" userId="aeb0559f-200d-4a58-9e6d-125e1b704bf8" providerId="ADAL" clId="{2F42D7B1-B962-445E-8485-41980C3AF6B0}" dt="2023-03-01T14:15:19.289" v="7035" actId="207"/>
          <ac:picMkLst>
            <pc:docMk/>
            <pc:sldMk cId="1704198380" sldId="5404"/>
            <ac:picMk id="14" creationId="{0D1904BA-4CEE-46D6-DBDF-6168F2FA9F13}"/>
          </ac:picMkLst>
        </pc:picChg>
        <pc:picChg chg="mod">
          <ac:chgData name="Doerfler, Lena" userId="aeb0559f-200d-4a58-9e6d-125e1b704bf8" providerId="ADAL" clId="{2F42D7B1-B962-445E-8485-41980C3AF6B0}" dt="2023-03-01T14:15:19.296" v="7037" actId="207"/>
          <ac:picMkLst>
            <pc:docMk/>
            <pc:sldMk cId="1704198380" sldId="5404"/>
            <ac:picMk id="88" creationId="{3148EA92-D7BC-90AA-D7FE-67CA1F18DD33}"/>
          </ac:picMkLst>
        </pc:picChg>
      </pc:sldChg>
      <pc:sldChg chg="addSp modSp add del mod ord">
        <pc:chgData name="Doerfler, Lena" userId="aeb0559f-200d-4a58-9e6d-125e1b704bf8" providerId="ADAL" clId="{2F42D7B1-B962-445E-8485-41980C3AF6B0}" dt="2023-03-01T14:16:31.282" v="8314" actId="2696"/>
        <pc:sldMkLst>
          <pc:docMk/>
          <pc:sldMk cId="1136794395" sldId="5405"/>
        </pc:sldMkLst>
        <pc:spChg chg="add mod">
          <ac:chgData name="Doerfler, Lena" userId="aeb0559f-200d-4a58-9e6d-125e1b704bf8" providerId="ADAL" clId="{2F42D7B1-B962-445E-8485-41980C3AF6B0}" dt="2023-03-01T14:15:08.040" v="6315"/>
          <ac:spMkLst>
            <pc:docMk/>
            <pc:sldMk cId="1136794395" sldId="5405"/>
            <ac:spMk id="2" creationId="{7A755D70-4325-0A43-393F-8A5EFEF410E3}"/>
          </ac:spMkLst>
        </pc:spChg>
        <pc:spChg chg="add mod">
          <ac:chgData name="Doerfler, Lena" userId="aeb0559f-200d-4a58-9e6d-125e1b704bf8" providerId="ADAL" clId="{2F42D7B1-B962-445E-8485-41980C3AF6B0}" dt="2023-03-01T14:15:08.041" v="6316"/>
          <ac:spMkLst>
            <pc:docMk/>
            <pc:sldMk cId="1136794395" sldId="5405"/>
            <ac:spMk id="3" creationId="{4A839F66-9B2F-5BC3-39BA-BD6CE055A9A1}"/>
          </ac:spMkLst>
        </pc:spChg>
        <pc:spChg chg="add mod">
          <ac:chgData name="Doerfler, Lena" userId="aeb0559f-200d-4a58-9e6d-125e1b704bf8" providerId="ADAL" clId="{2F42D7B1-B962-445E-8485-41980C3AF6B0}" dt="2023-03-01T14:15:08.042" v="6317"/>
          <ac:spMkLst>
            <pc:docMk/>
            <pc:sldMk cId="1136794395" sldId="5405"/>
            <ac:spMk id="4" creationId="{89109EE1-39B3-5179-82D2-103A7363E39A}"/>
          </ac:spMkLst>
        </pc:spChg>
        <pc:spChg chg="mod">
          <ac:chgData name="Doerfler, Lena" userId="aeb0559f-200d-4a58-9e6d-125e1b704bf8" providerId="ADAL" clId="{2F42D7B1-B962-445E-8485-41980C3AF6B0}" dt="2023-03-01T14:15:08.062" v="6335"/>
          <ac:spMkLst>
            <pc:docMk/>
            <pc:sldMk cId="1136794395" sldId="5405"/>
            <ac:spMk id="9" creationId="{1E2875BD-FC55-1286-5D68-61C88B45FFF6}"/>
          </ac:spMkLst>
        </pc:spChg>
        <pc:spChg chg="mod">
          <ac:chgData name="Doerfler, Lena" userId="aeb0559f-200d-4a58-9e6d-125e1b704bf8" providerId="ADAL" clId="{2F42D7B1-B962-445E-8485-41980C3AF6B0}" dt="2023-03-01T14:15:08.115" v="6423"/>
          <ac:spMkLst>
            <pc:docMk/>
            <pc:sldMk cId="1136794395" sldId="5405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3-01T14:15:08.095" v="6383"/>
          <ac:spMkLst>
            <pc:docMk/>
            <pc:sldMk cId="1136794395" sldId="5405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3-01T14:15:08.098" v="6391"/>
          <ac:spMkLst>
            <pc:docMk/>
            <pc:sldMk cId="1136794395" sldId="5405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3-01T14:15:08.124" v="6439"/>
          <ac:spMkLst>
            <pc:docMk/>
            <pc:sldMk cId="1136794395" sldId="5405"/>
            <ac:spMk id="49" creationId="{DCDE3585-53B9-400F-A6E6-6D3051B8FE3E}"/>
          </ac:spMkLst>
        </pc:spChg>
        <pc:spChg chg="mod">
          <ac:chgData name="Doerfler, Lena" userId="aeb0559f-200d-4a58-9e6d-125e1b704bf8" providerId="ADAL" clId="{2F42D7B1-B962-445E-8485-41980C3AF6B0}" dt="2023-03-01T14:15:08.105" v="6399"/>
          <ac:spMkLst>
            <pc:docMk/>
            <pc:sldMk cId="1136794395" sldId="5405"/>
            <ac:spMk id="50" creationId="{77D819D9-9ACA-43B9-9E35-63FEDEDBD01D}"/>
          </ac:spMkLst>
        </pc:spChg>
        <pc:spChg chg="mod">
          <ac:chgData name="Doerfler, Lena" userId="aeb0559f-200d-4a58-9e6d-125e1b704bf8" providerId="ADAL" clId="{2F42D7B1-B962-445E-8485-41980C3AF6B0}" dt="2023-03-01T14:15:08.128" v="6447"/>
          <ac:spMkLst>
            <pc:docMk/>
            <pc:sldMk cId="1136794395" sldId="5405"/>
            <ac:spMk id="72" creationId="{0BF01852-F4AA-4E4E-82E2-F189C8308B6E}"/>
          </ac:spMkLst>
        </pc:spChg>
        <pc:spChg chg="mod">
          <ac:chgData name="Doerfler, Lena" userId="aeb0559f-200d-4a58-9e6d-125e1b704bf8" providerId="ADAL" clId="{2F42D7B1-B962-445E-8485-41980C3AF6B0}" dt="2023-03-01T14:15:08.111" v="6415"/>
          <ac:spMkLst>
            <pc:docMk/>
            <pc:sldMk cId="1136794395" sldId="5405"/>
            <ac:spMk id="75" creationId="{86E4ABC5-D012-4113-86CA-45BAE3E7E9AA}"/>
          </ac:spMkLst>
        </pc:spChg>
        <pc:spChg chg="mod">
          <ac:chgData name="Doerfler, Lena" userId="aeb0559f-200d-4a58-9e6d-125e1b704bf8" providerId="ADAL" clId="{2F42D7B1-B962-445E-8485-41980C3AF6B0}" dt="2023-03-01T14:15:19.420" v="7095" actId="207"/>
          <ac:spMkLst>
            <pc:docMk/>
            <pc:sldMk cId="1136794395" sldId="5405"/>
            <ac:spMk id="93" creationId="{4B8B34FB-BE0A-41CC-9ED7-8A4D955358B2}"/>
          </ac:spMkLst>
        </pc:spChg>
        <pc:spChg chg="mod">
          <ac:chgData name="Doerfler, Lena" userId="aeb0559f-200d-4a58-9e6d-125e1b704bf8" providerId="ADAL" clId="{2F42D7B1-B962-445E-8485-41980C3AF6B0}" dt="2023-03-01T14:15:19.421" v="7097" actId="207"/>
          <ac:spMkLst>
            <pc:docMk/>
            <pc:sldMk cId="1136794395" sldId="5405"/>
            <ac:spMk id="95" creationId="{0F684D99-F0A9-4CD5-BFF8-58063E153CF8}"/>
          </ac:spMkLst>
        </pc:spChg>
        <pc:spChg chg="mod">
          <ac:chgData name="Doerfler, Lena" userId="aeb0559f-200d-4a58-9e6d-125e1b704bf8" providerId="ADAL" clId="{2F42D7B1-B962-445E-8485-41980C3AF6B0}" dt="2023-03-01T14:15:19.423" v="7099" actId="207"/>
          <ac:spMkLst>
            <pc:docMk/>
            <pc:sldMk cId="1136794395" sldId="5405"/>
            <ac:spMk id="101" creationId="{7A5202D9-447D-496D-9515-1DECDFE8A56B}"/>
          </ac:spMkLst>
        </pc:spChg>
        <pc:spChg chg="mod">
          <ac:chgData name="Doerfler, Lena" userId="aeb0559f-200d-4a58-9e6d-125e1b704bf8" providerId="ADAL" clId="{2F42D7B1-B962-445E-8485-41980C3AF6B0}" dt="2023-03-01T14:15:19.424" v="7101" actId="207"/>
          <ac:spMkLst>
            <pc:docMk/>
            <pc:sldMk cId="1136794395" sldId="5405"/>
            <ac:spMk id="102" creationId="{81D11542-C8C9-438B-93D2-CFD2AB6D4FDF}"/>
          </ac:spMkLst>
        </pc:spChg>
        <pc:grpChg chg="mod">
          <ac:chgData name="Doerfler, Lena" userId="aeb0559f-200d-4a58-9e6d-125e1b704bf8" providerId="ADAL" clId="{2F42D7B1-B962-445E-8485-41980C3AF6B0}" dt="2023-03-01T14:15:08.098" v="6391"/>
          <ac:grpSpMkLst>
            <pc:docMk/>
            <pc:sldMk cId="1136794395" sldId="5405"/>
            <ac:grpSpMk id="6" creationId="{A4900D07-B183-415B-8C9F-9D663FD11449}"/>
          </ac:grpSpMkLst>
        </pc:grpChg>
        <pc:grpChg chg="mod">
          <ac:chgData name="Doerfler, Lena" userId="aeb0559f-200d-4a58-9e6d-125e1b704bf8" providerId="ADAL" clId="{2F42D7B1-B962-445E-8485-41980C3AF6B0}" dt="2023-03-01T14:15:08.203" v="6545"/>
          <ac:grpSpMkLst>
            <pc:docMk/>
            <pc:sldMk cId="1136794395" sldId="5405"/>
            <ac:grpSpMk id="27" creationId="{A151701C-BDB6-31CC-299D-27D87087040E}"/>
          </ac:grpSpMkLst>
        </pc:grpChg>
        <pc:grpChg chg="mod">
          <ac:chgData name="Doerfler, Lena" userId="aeb0559f-200d-4a58-9e6d-125e1b704bf8" providerId="ADAL" clId="{2F42D7B1-B962-445E-8485-41980C3AF6B0}" dt="2023-03-01T14:15:08.128" v="6447"/>
          <ac:grpSpMkLst>
            <pc:docMk/>
            <pc:sldMk cId="1136794395" sldId="5405"/>
            <ac:grpSpMk id="70" creationId="{319DBD7E-51CE-4C66-A921-8DDF65363565}"/>
          </ac:grpSpMkLst>
        </pc:grpChg>
        <pc:picChg chg="mod">
          <ac:chgData name="Doerfler, Lena" userId="aeb0559f-200d-4a58-9e6d-125e1b704bf8" providerId="ADAL" clId="{2F42D7B1-B962-445E-8485-41980C3AF6B0}" dt="2023-03-01T14:15:08.176" v="6512"/>
          <ac:picMkLst>
            <pc:docMk/>
            <pc:sldMk cId="1136794395" sldId="5405"/>
            <ac:picMk id="21" creationId="{CE5F9446-5776-D157-349A-C5FB7A40701A}"/>
          </ac:picMkLst>
        </pc:picChg>
        <pc:picChg chg="mod">
          <ac:chgData name="Doerfler, Lena" userId="aeb0559f-200d-4a58-9e6d-125e1b704bf8" providerId="ADAL" clId="{2F42D7B1-B962-445E-8485-41980C3AF6B0}" dt="2023-03-01T14:15:19.452" v="7113" actId="207"/>
          <ac:picMkLst>
            <pc:docMk/>
            <pc:sldMk cId="1136794395" sldId="5405"/>
            <ac:picMk id="25" creationId="{43266FE7-07B3-C1BB-894E-5E66127D0B1E}"/>
          </ac:picMkLst>
        </pc:picChg>
        <pc:picChg chg="mod">
          <ac:chgData name="Doerfler, Lena" userId="aeb0559f-200d-4a58-9e6d-125e1b704bf8" providerId="ADAL" clId="{2F42D7B1-B962-445E-8485-41980C3AF6B0}" dt="2023-03-01T14:15:19.307" v="7039" actId="207"/>
          <ac:picMkLst>
            <pc:docMk/>
            <pc:sldMk cId="1136794395" sldId="5405"/>
            <ac:picMk id="26" creationId="{3D2C0374-021E-B508-6A33-BFBF293D1616}"/>
          </ac:picMkLst>
        </pc:picChg>
        <pc:picChg chg="mod">
          <ac:chgData name="Doerfler, Lena" userId="aeb0559f-200d-4a58-9e6d-125e1b704bf8" providerId="ADAL" clId="{2F42D7B1-B962-445E-8485-41980C3AF6B0}" dt="2023-03-01T14:15:08.199" v="6544"/>
          <ac:picMkLst>
            <pc:docMk/>
            <pc:sldMk cId="1136794395" sldId="5405"/>
            <ac:picMk id="28" creationId="{D067FBC3-5402-282D-45D0-668A712B2E02}"/>
          </ac:picMkLst>
        </pc:picChg>
        <pc:picChg chg="mod">
          <ac:chgData name="Doerfler, Lena" userId="aeb0559f-200d-4a58-9e6d-125e1b704bf8" providerId="ADAL" clId="{2F42D7B1-B962-445E-8485-41980C3AF6B0}" dt="2023-03-01T14:15:08.160" v="6490"/>
          <ac:picMkLst>
            <pc:docMk/>
            <pc:sldMk cId="1136794395" sldId="5405"/>
            <ac:picMk id="35" creationId="{DD60EB35-9BB9-45DD-8BF4-0BF6AA36BA11}"/>
          </ac:picMkLst>
        </pc:picChg>
        <pc:picChg chg="mod">
          <ac:chgData name="Doerfler, Lena" userId="aeb0559f-200d-4a58-9e6d-125e1b704bf8" providerId="ADAL" clId="{2F42D7B1-B962-445E-8485-41980C3AF6B0}" dt="2023-03-01T14:15:08.167" v="6501"/>
          <ac:picMkLst>
            <pc:docMk/>
            <pc:sldMk cId="1136794395" sldId="5405"/>
            <ac:picMk id="36" creationId="{D62DAAFC-2903-4D94-9DC7-200771D7C98A}"/>
          </ac:picMkLst>
        </pc:picChg>
        <pc:picChg chg="mod">
          <ac:chgData name="Doerfler, Lena" userId="aeb0559f-200d-4a58-9e6d-125e1b704bf8" providerId="ADAL" clId="{2F42D7B1-B962-445E-8485-41980C3AF6B0}" dt="2023-03-01T14:15:08.199" v="6544"/>
          <ac:picMkLst>
            <pc:docMk/>
            <pc:sldMk cId="1136794395" sldId="5405"/>
            <ac:picMk id="51" creationId="{99CBA120-BC5B-6386-281C-F4EC4AB831F8}"/>
          </ac:picMkLst>
        </pc:picChg>
        <pc:cxnChg chg="mod">
          <ac:chgData name="Doerfler, Lena" userId="aeb0559f-200d-4a58-9e6d-125e1b704bf8" providerId="ADAL" clId="{2F42D7B1-B962-445E-8485-41980C3AF6B0}" dt="2023-03-01T14:15:08.098" v="6391"/>
          <ac:cxnSpMkLst>
            <pc:docMk/>
            <pc:sldMk cId="1136794395" sldId="5405"/>
            <ac:cxnSpMk id="38" creationId="{752F9CE5-C7F2-46EE-8262-0A9C453A8662}"/>
          </ac:cxnSpMkLst>
        </pc:cxnChg>
        <pc:cxnChg chg="mod">
          <ac:chgData name="Doerfler, Lena" userId="aeb0559f-200d-4a58-9e6d-125e1b704bf8" providerId="ADAL" clId="{2F42D7B1-B962-445E-8485-41980C3AF6B0}" dt="2023-03-01T14:15:08.128" v="6447"/>
          <ac:cxnSpMkLst>
            <pc:docMk/>
            <pc:sldMk cId="1136794395" sldId="5405"/>
            <ac:cxnSpMk id="71" creationId="{C4D49286-E860-4181-9B8A-EFC190750B04}"/>
          </ac:cxnSpMkLst>
        </pc:cxnChg>
        <pc:cxnChg chg="mod">
          <ac:chgData name="Doerfler, Lena" userId="aeb0559f-200d-4a58-9e6d-125e1b704bf8" providerId="ADAL" clId="{2F42D7B1-B962-445E-8485-41980C3AF6B0}" dt="2023-03-01T14:15:08.108" v="6407"/>
          <ac:cxnSpMkLst>
            <pc:docMk/>
            <pc:sldMk cId="1136794395" sldId="5405"/>
            <ac:cxnSpMk id="77" creationId="{4FEAE43D-A276-41C7-AB7D-3554192E7DBB}"/>
          </ac:cxnSpMkLst>
        </pc:cxnChg>
      </pc:sldChg>
      <pc:sldChg chg="addSp modSp add del ord">
        <pc:chgData name="Doerfler, Lena" userId="aeb0559f-200d-4a58-9e6d-125e1b704bf8" providerId="ADAL" clId="{2F42D7B1-B962-445E-8485-41980C3AF6B0}" dt="2023-03-01T14:16:31.296" v="8315" actId="2696"/>
        <pc:sldMkLst>
          <pc:docMk/>
          <pc:sldMk cId="2660979647" sldId="5406"/>
        </pc:sldMkLst>
        <pc:spChg chg="add mod">
          <ac:chgData name="Doerfler, Lena" userId="aeb0559f-200d-4a58-9e6d-125e1b704bf8" providerId="ADAL" clId="{2F42D7B1-B962-445E-8485-41980C3AF6B0}" dt="2023-03-01T14:15:09.055" v="6548"/>
          <ac:spMkLst>
            <pc:docMk/>
            <pc:sldMk cId="2660979647" sldId="5406"/>
            <ac:spMk id="3" creationId="{E83108B1-4F5C-B20F-4808-9F3A660F7705}"/>
          </ac:spMkLst>
        </pc:spChg>
        <pc:spChg chg="add mod">
          <ac:chgData name="Doerfler, Lena" userId="aeb0559f-200d-4a58-9e6d-125e1b704bf8" providerId="ADAL" clId="{2F42D7B1-B962-445E-8485-41980C3AF6B0}" dt="2023-03-01T14:15:09.056" v="6549"/>
          <ac:spMkLst>
            <pc:docMk/>
            <pc:sldMk cId="2660979647" sldId="5406"/>
            <ac:spMk id="5" creationId="{E3030CF9-CC90-6AB4-657F-F8515B795577}"/>
          </ac:spMkLst>
        </pc:spChg>
        <pc:spChg chg="add mod">
          <ac:chgData name="Doerfler, Lena" userId="aeb0559f-200d-4a58-9e6d-125e1b704bf8" providerId="ADAL" clId="{2F42D7B1-B962-445E-8485-41980C3AF6B0}" dt="2023-03-01T14:15:09.057" v="6550"/>
          <ac:spMkLst>
            <pc:docMk/>
            <pc:sldMk cId="2660979647" sldId="5406"/>
            <ac:spMk id="6" creationId="{A9F82FAF-3DF6-092D-11E7-E6F65C426F43}"/>
          </ac:spMkLst>
        </pc:spChg>
      </pc:sldChg>
      <pc:sldChg chg="addSp modSp add del mod ord">
        <pc:chgData name="Doerfler, Lena" userId="aeb0559f-200d-4a58-9e6d-125e1b704bf8" providerId="ADAL" clId="{2F42D7B1-B962-445E-8485-41980C3AF6B0}" dt="2023-03-01T14:16:31.350" v="8316" actId="2696"/>
        <pc:sldMkLst>
          <pc:docMk/>
          <pc:sldMk cId="2076080513" sldId="5407"/>
        </pc:sldMkLst>
        <pc:spChg chg="add mod">
          <ac:chgData name="Doerfler, Lena" userId="aeb0559f-200d-4a58-9e6d-125e1b704bf8" providerId="ADAL" clId="{2F42D7B1-B962-445E-8485-41980C3AF6B0}" dt="2023-03-01T14:15:09.505" v="6553"/>
          <ac:spMkLst>
            <pc:docMk/>
            <pc:sldMk cId="2076080513" sldId="5407"/>
            <ac:spMk id="2" creationId="{AAEBA62F-2BCE-4DF2-7516-9F8FF35C0B01}"/>
          </ac:spMkLst>
        </pc:spChg>
        <pc:spChg chg="add mod">
          <ac:chgData name="Doerfler, Lena" userId="aeb0559f-200d-4a58-9e6d-125e1b704bf8" providerId="ADAL" clId="{2F42D7B1-B962-445E-8485-41980C3AF6B0}" dt="2023-03-01T14:15:09.506" v="6554"/>
          <ac:spMkLst>
            <pc:docMk/>
            <pc:sldMk cId="2076080513" sldId="5407"/>
            <ac:spMk id="3" creationId="{63711578-ADC7-0E0D-6767-5C249BBB4559}"/>
          </ac:spMkLst>
        </pc:spChg>
        <pc:spChg chg="add mod">
          <ac:chgData name="Doerfler, Lena" userId="aeb0559f-200d-4a58-9e6d-125e1b704bf8" providerId="ADAL" clId="{2F42D7B1-B962-445E-8485-41980C3AF6B0}" dt="2023-03-01T14:15:09.507" v="6555"/>
          <ac:spMkLst>
            <pc:docMk/>
            <pc:sldMk cId="2076080513" sldId="5407"/>
            <ac:spMk id="4" creationId="{F8D4325C-68FD-DED6-47A8-CF19638B33EB}"/>
          </ac:spMkLst>
        </pc:spChg>
        <pc:spChg chg="mod">
          <ac:chgData name="Doerfler, Lena" userId="aeb0559f-200d-4a58-9e6d-125e1b704bf8" providerId="ADAL" clId="{2F42D7B1-B962-445E-8485-41980C3AF6B0}" dt="2023-03-01T14:15:09.529" v="6576"/>
          <ac:spMkLst>
            <pc:docMk/>
            <pc:sldMk cId="2076080513" sldId="5407"/>
            <ac:spMk id="9" creationId="{F9E7E03D-88EB-344B-A0C5-B026CEBB1E5E}"/>
          </ac:spMkLst>
        </pc:spChg>
        <pc:spChg chg="mod">
          <ac:chgData name="Doerfler, Lena" userId="aeb0559f-200d-4a58-9e6d-125e1b704bf8" providerId="ADAL" clId="{2F42D7B1-B962-445E-8485-41980C3AF6B0}" dt="2023-03-01T14:15:09.574" v="6664"/>
          <ac:spMkLst>
            <pc:docMk/>
            <pc:sldMk cId="2076080513" sldId="5407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3-01T14:15:09.553" v="6624"/>
          <ac:spMkLst>
            <pc:docMk/>
            <pc:sldMk cId="2076080513" sldId="5407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3-01T14:15:09.558" v="6632"/>
          <ac:spMkLst>
            <pc:docMk/>
            <pc:sldMk cId="2076080513" sldId="5407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3-01T14:15:09.580" v="6680"/>
          <ac:spMkLst>
            <pc:docMk/>
            <pc:sldMk cId="2076080513" sldId="5407"/>
            <ac:spMk id="49" creationId="{DCDE3585-53B9-400F-A6E6-6D3051B8FE3E}"/>
          </ac:spMkLst>
        </pc:spChg>
        <pc:spChg chg="mod">
          <ac:chgData name="Doerfler, Lena" userId="aeb0559f-200d-4a58-9e6d-125e1b704bf8" providerId="ADAL" clId="{2F42D7B1-B962-445E-8485-41980C3AF6B0}" dt="2023-03-01T14:15:09.561" v="6640"/>
          <ac:spMkLst>
            <pc:docMk/>
            <pc:sldMk cId="2076080513" sldId="5407"/>
            <ac:spMk id="50" creationId="{77D819D9-9ACA-43B9-9E35-63FEDEDBD01D}"/>
          </ac:spMkLst>
        </pc:spChg>
        <pc:spChg chg="mod">
          <ac:chgData name="Doerfler, Lena" userId="aeb0559f-200d-4a58-9e6d-125e1b704bf8" providerId="ADAL" clId="{2F42D7B1-B962-445E-8485-41980C3AF6B0}" dt="2023-03-01T14:15:09.593" v="6704"/>
          <ac:spMkLst>
            <pc:docMk/>
            <pc:sldMk cId="2076080513" sldId="5407"/>
            <ac:spMk id="52" creationId="{51AF0FC1-664A-4D6B-AB55-4A6B79A28B8D}"/>
          </ac:spMkLst>
        </pc:spChg>
        <pc:spChg chg="mod">
          <ac:chgData name="Doerfler, Lena" userId="aeb0559f-200d-4a58-9e6d-125e1b704bf8" providerId="ADAL" clId="{2F42D7B1-B962-445E-8485-41980C3AF6B0}" dt="2023-03-01T14:15:19.454" v="7115" actId="207"/>
          <ac:spMkLst>
            <pc:docMk/>
            <pc:sldMk cId="2076080513" sldId="5407"/>
            <ac:spMk id="53" creationId="{E84F1484-ADCE-4551-88CB-CA141074ED40}"/>
          </ac:spMkLst>
        </pc:spChg>
        <pc:spChg chg="mod">
          <ac:chgData name="Doerfler, Lena" userId="aeb0559f-200d-4a58-9e6d-125e1b704bf8" providerId="ADAL" clId="{2F42D7B1-B962-445E-8485-41980C3AF6B0}" dt="2023-03-01T14:15:09.585" v="6688"/>
          <ac:spMkLst>
            <pc:docMk/>
            <pc:sldMk cId="2076080513" sldId="5407"/>
            <ac:spMk id="72" creationId="{0BF01852-F4AA-4E4E-82E2-F189C8308B6E}"/>
          </ac:spMkLst>
        </pc:spChg>
        <pc:spChg chg="mod">
          <ac:chgData name="Doerfler, Lena" userId="aeb0559f-200d-4a58-9e6d-125e1b704bf8" providerId="ADAL" clId="{2F42D7B1-B962-445E-8485-41980C3AF6B0}" dt="2023-03-01T14:15:09.570" v="6656"/>
          <ac:spMkLst>
            <pc:docMk/>
            <pc:sldMk cId="2076080513" sldId="5407"/>
            <ac:spMk id="75" creationId="{86E4ABC5-D012-4113-86CA-45BAE3E7E9AA}"/>
          </ac:spMkLst>
        </pc:spChg>
        <pc:spChg chg="mod">
          <ac:chgData name="Doerfler, Lena" userId="aeb0559f-200d-4a58-9e6d-125e1b704bf8" providerId="ADAL" clId="{2F42D7B1-B962-445E-8485-41980C3AF6B0}" dt="2023-03-01T14:15:09.597" v="6712"/>
          <ac:spMkLst>
            <pc:docMk/>
            <pc:sldMk cId="2076080513" sldId="5407"/>
            <ac:spMk id="86" creationId="{46CAB518-9482-4C59-BE50-3C13FAA66C3B}"/>
          </ac:spMkLst>
        </pc:spChg>
        <pc:spChg chg="mod">
          <ac:chgData name="Doerfler, Lena" userId="aeb0559f-200d-4a58-9e6d-125e1b704bf8" providerId="ADAL" clId="{2F42D7B1-B962-445E-8485-41980C3AF6B0}" dt="2023-03-01T14:15:09.625" v="6768"/>
          <ac:spMkLst>
            <pc:docMk/>
            <pc:sldMk cId="2076080513" sldId="5407"/>
            <ac:spMk id="89" creationId="{2D96F1B3-013E-F5C7-67CB-D5AF7D89CBAA}"/>
          </ac:spMkLst>
        </pc:spChg>
        <pc:spChg chg="mod">
          <ac:chgData name="Doerfler, Lena" userId="aeb0559f-200d-4a58-9e6d-125e1b704bf8" providerId="ADAL" clId="{2F42D7B1-B962-445E-8485-41980C3AF6B0}" dt="2023-03-01T14:15:19.427" v="7103" actId="207"/>
          <ac:spMkLst>
            <pc:docMk/>
            <pc:sldMk cId="2076080513" sldId="5407"/>
            <ac:spMk id="93" creationId="{4B8B34FB-BE0A-41CC-9ED7-8A4D955358B2}"/>
          </ac:spMkLst>
        </pc:spChg>
        <pc:spChg chg="mod">
          <ac:chgData name="Doerfler, Lena" userId="aeb0559f-200d-4a58-9e6d-125e1b704bf8" providerId="ADAL" clId="{2F42D7B1-B962-445E-8485-41980C3AF6B0}" dt="2023-03-01T14:15:19.429" v="7105" actId="207"/>
          <ac:spMkLst>
            <pc:docMk/>
            <pc:sldMk cId="2076080513" sldId="5407"/>
            <ac:spMk id="95" creationId="{0F684D99-F0A9-4CD5-BFF8-58063E153CF8}"/>
          </ac:spMkLst>
        </pc:spChg>
        <pc:spChg chg="mod">
          <ac:chgData name="Doerfler, Lena" userId="aeb0559f-200d-4a58-9e6d-125e1b704bf8" providerId="ADAL" clId="{2F42D7B1-B962-445E-8485-41980C3AF6B0}" dt="2023-03-01T14:15:19.432" v="7107" actId="207"/>
          <ac:spMkLst>
            <pc:docMk/>
            <pc:sldMk cId="2076080513" sldId="5407"/>
            <ac:spMk id="101" creationId="{7A5202D9-447D-496D-9515-1DECDFE8A56B}"/>
          </ac:spMkLst>
        </pc:spChg>
        <pc:spChg chg="mod">
          <ac:chgData name="Doerfler, Lena" userId="aeb0559f-200d-4a58-9e6d-125e1b704bf8" providerId="ADAL" clId="{2F42D7B1-B962-445E-8485-41980C3AF6B0}" dt="2023-03-01T14:15:19.435" v="7109" actId="207"/>
          <ac:spMkLst>
            <pc:docMk/>
            <pc:sldMk cId="2076080513" sldId="5407"/>
            <ac:spMk id="102" creationId="{81D11542-C8C9-438B-93D2-CFD2AB6D4FDF}"/>
          </ac:spMkLst>
        </pc:spChg>
        <pc:grpChg chg="mod">
          <ac:chgData name="Doerfler, Lena" userId="aeb0559f-200d-4a58-9e6d-125e1b704bf8" providerId="ADAL" clId="{2F42D7B1-B962-445E-8485-41980C3AF6B0}" dt="2023-03-01T14:15:09.558" v="6632"/>
          <ac:grpSpMkLst>
            <pc:docMk/>
            <pc:sldMk cId="2076080513" sldId="5407"/>
            <ac:grpSpMk id="6" creationId="{A4900D07-B183-415B-8C9F-9D663FD11449}"/>
          </ac:grpSpMkLst>
        </pc:grpChg>
        <pc:grpChg chg="mod">
          <ac:chgData name="Doerfler, Lena" userId="aeb0559f-200d-4a58-9e6d-125e1b704bf8" providerId="ADAL" clId="{2F42D7B1-B962-445E-8485-41980C3AF6B0}" dt="2023-03-01T14:15:09.597" v="6712"/>
          <ac:grpSpMkLst>
            <pc:docMk/>
            <pc:sldMk cId="2076080513" sldId="5407"/>
            <ac:grpSpMk id="8" creationId="{F5F89834-C6DD-460D-9F12-D66F74B1F6D0}"/>
          </ac:grpSpMkLst>
        </pc:grpChg>
        <pc:grpChg chg="mod">
          <ac:chgData name="Doerfler, Lena" userId="aeb0559f-200d-4a58-9e6d-125e1b704bf8" providerId="ADAL" clId="{2F42D7B1-B962-445E-8485-41980C3AF6B0}" dt="2023-03-01T14:15:09.689" v="6834"/>
          <ac:grpSpMkLst>
            <pc:docMk/>
            <pc:sldMk cId="2076080513" sldId="5407"/>
            <ac:grpSpMk id="27" creationId="{A151701C-BDB6-31CC-299D-27D87087040E}"/>
          </ac:grpSpMkLst>
        </pc:grpChg>
        <pc:grpChg chg="mod">
          <ac:chgData name="Doerfler, Lena" userId="aeb0559f-200d-4a58-9e6d-125e1b704bf8" providerId="ADAL" clId="{2F42D7B1-B962-445E-8485-41980C3AF6B0}" dt="2023-03-01T14:15:09.585" v="6688"/>
          <ac:grpSpMkLst>
            <pc:docMk/>
            <pc:sldMk cId="2076080513" sldId="5407"/>
            <ac:grpSpMk id="70" creationId="{319DBD7E-51CE-4C66-A921-8DDF65363565}"/>
          </ac:grpSpMkLst>
        </pc:grpChg>
        <pc:picChg chg="mod">
          <ac:chgData name="Doerfler, Lena" userId="aeb0559f-200d-4a58-9e6d-125e1b704bf8" providerId="ADAL" clId="{2F42D7B1-B962-445E-8485-41980C3AF6B0}" dt="2023-03-01T14:15:09.656" v="6801"/>
          <ac:picMkLst>
            <pc:docMk/>
            <pc:sldMk cId="2076080513" sldId="5407"/>
            <ac:picMk id="21" creationId="{CE5F9446-5776-D157-349A-C5FB7A40701A}"/>
          </ac:picMkLst>
        </pc:picChg>
        <pc:picChg chg="mod">
          <ac:chgData name="Doerfler, Lena" userId="aeb0559f-200d-4a58-9e6d-125e1b704bf8" providerId="ADAL" clId="{2F42D7B1-B962-445E-8485-41980C3AF6B0}" dt="2023-03-01T14:15:09.670" v="6812"/>
          <ac:picMkLst>
            <pc:docMk/>
            <pc:sldMk cId="2076080513" sldId="5407"/>
            <ac:picMk id="25" creationId="{43266FE7-07B3-C1BB-894E-5E66127D0B1E}"/>
          </ac:picMkLst>
        </pc:picChg>
        <pc:picChg chg="mod">
          <ac:chgData name="Doerfler, Lena" userId="aeb0559f-200d-4a58-9e6d-125e1b704bf8" providerId="ADAL" clId="{2F42D7B1-B962-445E-8485-41980C3AF6B0}" dt="2023-03-01T14:15:09.678" v="6823"/>
          <ac:picMkLst>
            <pc:docMk/>
            <pc:sldMk cId="2076080513" sldId="5407"/>
            <ac:picMk id="26" creationId="{3D2C0374-021E-B508-6A33-BFBF293D1616}"/>
          </ac:picMkLst>
        </pc:picChg>
        <pc:picChg chg="mod">
          <ac:chgData name="Doerfler, Lena" userId="aeb0559f-200d-4a58-9e6d-125e1b704bf8" providerId="ADAL" clId="{2F42D7B1-B962-445E-8485-41980C3AF6B0}" dt="2023-03-01T14:15:09.687" v="6833"/>
          <ac:picMkLst>
            <pc:docMk/>
            <pc:sldMk cId="2076080513" sldId="5407"/>
            <ac:picMk id="28" creationId="{D067FBC3-5402-282D-45D0-668A712B2E02}"/>
          </ac:picMkLst>
        </pc:picChg>
        <pc:picChg chg="mod">
          <ac:chgData name="Doerfler, Lena" userId="aeb0559f-200d-4a58-9e6d-125e1b704bf8" providerId="ADAL" clId="{2F42D7B1-B962-445E-8485-41980C3AF6B0}" dt="2023-03-01T14:15:09.631" v="6779"/>
          <ac:picMkLst>
            <pc:docMk/>
            <pc:sldMk cId="2076080513" sldId="5407"/>
            <ac:picMk id="35" creationId="{DD60EB35-9BB9-45DD-8BF4-0BF6AA36BA11}"/>
          </ac:picMkLst>
        </pc:picChg>
        <pc:picChg chg="mod">
          <ac:chgData name="Doerfler, Lena" userId="aeb0559f-200d-4a58-9e6d-125e1b704bf8" providerId="ADAL" clId="{2F42D7B1-B962-445E-8485-41980C3AF6B0}" dt="2023-03-01T14:15:09.642" v="6790"/>
          <ac:picMkLst>
            <pc:docMk/>
            <pc:sldMk cId="2076080513" sldId="5407"/>
            <ac:picMk id="36" creationId="{D62DAAFC-2903-4D94-9DC7-200771D7C98A}"/>
          </ac:picMkLst>
        </pc:picChg>
        <pc:picChg chg="mod">
          <ac:chgData name="Doerfler, Lena" userId="aeb0559f-200d-4a58-9e6d-125e1b704bf8" providerId="ADAL" clId="{2F42D7B1-B962-445E-8485-41980C3AF6B0}" dt="2023-03-01T14:15:09.687" v="6833"/>
          <ac:picMkLst>
            <pc:docMk/>
            <pc:sldMk cId="2076080513" sldId="5407"/>
            <ac:picMk id="51" creationId="{99CBA120-BC5B-6386-281C-F4EC4AB831F8}"/>
          </ac:picMkLst>
        </pc:picChg>
        <pc:picChg chg="mod">
          <ac:chgData name="Doerfler, Lena" userId="aeb0559f-200d-4a58-9e6d-125e1b704bf8" providerId="ADAL" clId="{2F42D7B1-B962-445E-8485-41980C3AF6B0}" dt="2023-03-01T14:15:09.698" v="6845"/>
          <ac:picMkLst>
            <pc:docMk/>
            <pc:sldMk cId="2076080513" sldId="5407"/>
            <ac:picMk id="83" creationId="{CEE82639-D8FA-358E-E8D1-9EF1BE515363}"/>
          </ac:picMkLst>
        </pc:picChg>
        <pc:picChg chg="mod">
          <ac:chgData name="Doerfler, Lena" userId="aeb0559f-200d-4a58-9e6d-125e1b704bf8" providerId="ADAL" clId="{2F42D7B1-B962-445E-8485-41980C3AF6B0}" dt="2023-03-01T14:15:09.708" v="6856"/>
          <ac:picMkLst>
            <pc:docMk/>
            <pc:sldMk cId="2076080513" sldId="5407"/>
            <ac:picMk id="87" creationId="{2B587286-274F-C712-FF0F-73616F1E2C0E}"/>
          </ac:picMkLst>
        </pc:picChg>
        <pc:cxnChg chg="mod">
          <ac:chgData name="Doerfler, Lena" userId="aeb0559f-200d-4a58-9e6d-125e1b704bf8" providerId="ADAL" clId="{2F42D7B1-B962-445E-8485-41980C3AF6B0}" dt="2023-03-01T14:15:09.558" v="6632"/>
          <ac:cxnSpMkLst>
            <pc:docMk/>
            <pc:sldMk cId="2076080513" sldId="5407"/>
            <ac:cxnSpMk id="38" creationId="{752F9CE5-C7F2-46EE-8262-0A9C453A8662}"/>
          </ac:cxnSpMkLst>
        </pc:cxnChg>
        <pc:cxnChg chg="mod">
          <ac:chgData name="Doerfler, Lena" userId="aeb0559f-200d-4a58-9e6d-125e1b704bf8" providerId="ADAL" clId="{2F42D7B1-B962-445E-8485-41980C3AF6B0}" dt="2023-03-01T14:15:09.585" v="6688"/>
          <ac:cxnSpMkLst>
            <pc:docMk/>
            <pc:sldMk cId="2076080513" sldId="5407"/>
            <ac:cxnSpMk id="71" creationId="{C4D49286-E860-4181-9B8A-EFC190750B04}"/>
          </ac:cxnSpMkLst>
        </pc:cxnChg>
        <pc:cxnChg chg="mod">
          <ac:chgData name="Doerfler, Lena" userId="aeb0559f-200d-4a58-9e6d-125e1b704bf8" providerId="ADAL" clId="{2F42D7B1-B962-445E-8485-41980C3AF6B0}" dt="2023-03-01T14:15:09.564" v="6648"/>
          <ac:cxnSpMkLst>
            <pc:docMk/>
            <pc:sldMk cId="2076080513" sldId="5407"/>
            <ac:cxnSpMk id="77" creationId="{4FEAE43D-A276-41C7-AB7D-3554192E7DBB}"/>
          </ac:cxnSpMkLst>
        </pc:cxnChg>
        <pc:cxnChg chg="mod">
          <ac:chgData name="Doerfler, Lena" userId="aeb0559f-200d-4a58-9e6d-125e1b704bf8" providerId="ADAL" clId="{2F42D7B1-B962-445E-8485-41980C3AF6B0}" dt="2023-03-01T14:15:09.597" v="6712"/>
          <ac:cxnSpMkLst>
            <pc:docMk/>
            <pc:sldMk cId="2076080513" sldId="5407"/>
            <ac:cxnSpMk id="85" creationId="{D70B2795-6AD7-47B0-B96B-91461012D032}"/>
          </ac:cxnSpMkLst>
        </pc:cxnChg>
      </pc:sldChg>
      <pc:sldChg chg="addSp modSp add del ord">
        <pc:chgData name="Doerfler, Lena" userId="aeb0559f-200d-4a58-9e6d-125e1b704bf8" providerId="ADAL" clId="{2F42D7B1-B962-445E-8485-41980C3AF6B0}" dt="2023-03-01T14:16:31.363" v="8317" actId="2696"/>
        <pc:sldMkLst>
          <pc:docMk/>
          <pc:sldMk cId="2421184334" sldId="5408"/>
        </pc:sldMkLst>
        <pc:spChg chg="add mod">
          <ac:chgData name="Doerfler, Lena" userId="aeb0559f-200d-4a58-9e6d-125e1b704bf8" providerId="ADAL" clId="{2F42D7B1-B962-445E-8485-41980C3AF6B0}" dt="2023-03-01T14:15:10.098" v="6859"/>
          <ac:spMkLst>
            <pc:docMk/>
            <pc:sldMk cId="2421184334" sldId="5408"/>
            <ac:spMk id="5" creationId="{86C86CF9-9E05-8365-16C9-CBFAEF671E6B}"/>
          </ac:spMkLst>
        </pc:spChg>
        <pc:spChg chg="add mod">
          <ac:chgData name="Doerfler, Lena" userId="aeb0559f-200d-4a58-9e6d-125e1b704bf8" providerId="ADAL" clId="{2F42D7B1-B962-445E-8485-41980C3AF6B0}" dt="2023-03-01T14:15:10.101" v="6860"/>
          <ac:spMkLst>
            <pc:docMk/>
            <pc:sldMk cId="2421184334" sldId="5408"/>
            <ac:spMk id="6" creationId="{B61963CF-9441-2BDC-7F81-3E64F57FD738}"/>
          </ac:spMkLst>
        </pc:spChg>
        <pc:spChg chg="add mod">
          <ac:chgData name="Doerfler, Lena" userId="aeb0559f-200d-4a58-9e6d-125e1b704bf8" providerId="ADAL" clId="{2F42D7B1-B962-445E-8485-41980C3AF6B0}" dt="2023-03-01T14:15:10.105" v="6861"/>
          <ac:spMkLst>
            <pc:docMk/>
            <pc:sldMk cId="2421184334" sldId="5408"/>
            <ac:spMk id="7" creationId="{9A816511-CAA8-B8CA-2564-3548E019D4A7}"/>
          </ac:spMkLst>
        </pc:spChg>
      </pc:sldChg>
      <pc:sldChg chg="addSp modSp add del mod ord">
        <pc:chgData name="Doerfler, Lena" userId="aeb0559f-200d-4a58-9e6d-125e1b704bf8" providerId="ADAL" clId="{2F42D7B1-B962-445E-8485-41980C3AF6B0}" dt="2023-03-01T14:16:31.449" v="8318" actId="2696"/>
        <pc:sldMkLst>
          <pc:docMk/>
          <pc:sldMk cId="880457747" sldId="5409"/>
        </pc:sldMkLst>
        <pc:spChg chg="add mod">
          <ac:chgData name="Doerfler, Lena" userId="aeb0559f-200d-4a58-9e6d-125e1b704bf8" providerId="ADAL" clId="{2F42D7B1-B962-445E-8485-41980C3AF6B0}" dt="2023-03-01T14:15:11.614" v="6864"/>
          <ac:spMkLst>
            <pc:docMk/>
            <pc:sldMk cId="880457747" sldId="5409"/>
            <ac:spMk id="3" creationId="{1CD38523-D9E7-297B-EFD6-86F852EF9B5C}"/>
          </ac:spMkLst>
        </pc:spChg>
        <pc:spChg chg="add mod">
          <ac:chgData name="Doerfler, Lena" userId="aeb0559f-200d-4a58-9e6d-125e1b704bf8" providerId="ADAL" clId="{2F42D7B1-B962-445E-8485-41980C3AF6B0}" dt="2023-03-01T14:15:11.616" v="6865"/>
          <ac:spMkLst>
            <pc:docMk/>
            <pc:sldMk cId="880457747" sldId="5409"/>
            <ac:spMk id="5" creationId="{7BD6F1A1-AA3D-1ABF-0623-6963802BE9A0}"/>
          </ac:spMkLst>
        </pc:spChg>
        <pc:spChg chg="add mod">
          <ac:chgData name="Doerfler, Lena" userId="aeb0559f-200d-4a58-9e6d-125e1b704bf8" providerId="ADAL" clId="{2F42D7B1-B962-445E-8485-41980C3AF6B0}" dt="2023-03-01T14:15:11.620" v="6866"/>
          <ac:spMkLst>
            <pc:docMk/>
            <pc:sldMk cId="880457747" sldId="5409"/>
            <ac:spMk id="6" creationId="{957F867C-92D1-03A5-4E75-13323229EBEE}"/>
          </ac:spMkLst>
        </pc:spChg>
        <pc:spChg chg="mod">
          <ac:chgData name="Doerfler, Lena" userId="aeb0559f-200d-4a58-9e6d-125e1b704bf8" providerId="ADAL" clId="{2F42D7B1-B962-445E-8485-41980C3AF6B0}" dt="2023-03-01T14:15:19.549" v="7201" actId="208"/>
          <ac:spMkLst>
            <pc:docMk/>
            <pc:sldMk cId="880457747" sldId="5409"/>
            <ac:spMk id="11" creationId="{D70E1BA8-AE6F-A45D-1E68-4502C96E2625}"/>
          </ac:spMkLst>
        </pc:spChg>
        <pc:spChg chg="mod">
          <ac:chgData name="Doerfler, Lena" userId="aeb0559f-200d-4a58-9e6d-125e1b704bf8" providerId="ADAL" clId="{2F42D7B1-B962-445E-8485-41980C3AF6B0}" dt="2023-03-01T14:15:19.178" v="6993" actId="207"/>
          <ac:spMkLst>
            <pc:docMk/>
            <pc:sldMk cId="880457747" sldId="5409"/>
            <ac:spMk id="12" creationId="{FB77E34D-4149-F3D0-D845-C869B6920E4E}"/>
          </ac:spMkLst>
        </pc:spChg>
        <pc:spChg chg="mod">
          <ac:chgData name="Doerfler, Lena" userId="aeb0559f-200d-4a58-9e6d-125e1b704bf8" providerId="ADAL" clId="{2F42D7B1-B962-445E-8485-41980C3AF6B0}" dt="2023-03-01T14:15:19.173" v="6989" actId="207"/>
          <ac:spMkLst>
            <pc:docMk/>
            <pc:sldMk cId="880457747" sldId="5409"/>
            <ac:spMk id="13" creationId="{7C17A9A8-3759-FD7E-302E-6236424E4B95}"/>
          </ac:spMkLst>
        </pc:spChg>
        <pc:spChg chg="mod">
          <ac:chgData name="Doerfler, Lena" userId="aeb0559f-200d-4a58-9e6d-125e1b704bf8" providerId="ADAL" clId="{2F42D7B1-B962-445E-8485-41980C3AF6B0}" dt="2023-03-01T14:15:19.573" v="7228" actId="207"/>
          <ac:spMkLst>
            <pc:docMk/>
            <pc:sldMk cId="880457747" sldId="5409"/>
            <ac:spMk id="14" creationId="{9EC9BC71-022D-5AD0-595D-0ACEFEBE8AD4}"/>
          </ac:spMkLst>
        </pc:spChg>
        <pc:spChg chg="mod">
          <ac:chgData name="Doerfler, Lena" userId="aeb0559f-200d-4a58-9e6d-125e1b704bf8" providerId="ADAL" clId="{2F42D7B1-B962-445E-8485-41980C3AF6B0}" dt="2023-03-01T14:15:19.470" v="7133" actId="207"/>
          <ac:spMkLst>
            <pc:docMk/>
            <pc:sldMk cId="880457747" sldId="5409"/>
            <ac:spMk id="20" creationId="{155299C4-9A24-B622-1025-62F208BC95B2}"/>
          </ac:spMkLst>
        </pc:spChg>
        <pc:spChg chg="mod">
          <ac:chgData name="Doerfler, Lena" userId="aeb0559f-200d-4a58-9e6d-125e1b704bf8" providerId="ADAL" clId="{2F42D7B1-B962-445E-8485-41980C3AF6B0}" dt="2023-03-01T14:15:19.472" v="7135" actId="207"/>
          <ac:spMkLst>
            <pc:docMk/>
            <pc:sldMk cId="880457747" sldId="5409"/>
            <ac:spMk id="21" creationId="{F86AB78D-C71C-3E1E-A190-3366F854A210}"/>
          </ac:spMkLst>
        </pc:spChg>
        <pc:spChg chg="mod">
          <ac:chgData name="Doerfler, Lena" userId="aeb0559f-200d-4a58-9e6d-125e1b704bf8" providerId="ADAL" clId="{2F42D7B1-B962-445E-8485-41980C3AF6B0}" dt="2023-03-01T14:15:19.473" v="7137" actId="207"/>
          <ac:spMkLst>
            <pc:docMk/>
            <pc:sldMk cId="880457747" sldId="5409"/>
            <ac:spMk id="22" creationId="{6C1AED81-5F9B-60AE-3CB0-B55654761375}"/>
          </ac:spMkLst>
        </pc:spChg>
        <pc:spChg chg="mod">
          <ac:chgData name="Doerfler, Lena" userId="aeb0559f-200d-4a58-9e6d-125e1b704bf8" providerId="ADAL" clId="{2F42D7B1-B962-445E-8485-41980C3AF6B0}" dt="2023-03-01T14:15:19.475" v="7139" actId="207"/>
          <ac:spMkLst>
            <pc:docMk/>
            <pc:sldMk cId="880457747" sldId="5409"/>
            <ac:spMk id="23" creationId="{38A26637-A793-4D1C-B2B7-E66055E68711}"/>
          </ac:spMkLst>
        </pc:spChg>
        <pc:spChg chg="mod">
          <ac:chgData name="Doerfler, Lena" userId="aeb0559f-200d-4a58-9e6d-125e1b704bf8" providerId="ADAL" clId="{2F42D7B1-B962-445E-8485-41980C3AF6B0}" dt="2023-03-01T14:15:19.477" v="7141" actId="207"/>
          <ac:spMkLst>
            <pc:docMk/>
            <pc:sldMk cId="880457747" sldId="5409"/>
            <ac:spMk id="24" creationId="{06DA8491-9D53-D1B7-5BFF-E1AC85221CD6}"/>
          </ac:spMkLst>
        </pc:spChg>
        <pc:spChg chg="mod">
          <ac:chgData name="Doerfler, Lena" userId="aeb0559f-200d-4a58-9e6d-125e1b704bf8" providerId="ADAL" clId="{2F42D7B1-B962-445E-8485-41980C3AF6B0}" dt="2023-03-01T14:15:19.479" v="7143" actId="207"/>
          <ac:spMkLst>
            <pc:docMk/>
            <pc:sldMk cId="880457747" sldId="5409"/>
            <ac:spMk id="25" creationId="{4DD270F7-FB34-33C6-50A2-74A6EC8A9205}"/>
          </ac:spMkLst>
        </pc:spChg>
        <pc:spChg chg="mod">
          <ac:chgData name="Doerfler, Lena" userId="aeb0559f-200d-4a58-9e6d-125e1b704bf8" providerId="ADAL" clId="{2F42D7B1-B962-445E-8485-41980C3AF6B0}" dt="2023-03-01T14:15:19.481" v="7145" actId="207"/>
          <ac:spMkLst>
            <pc:docMk/>
            <pc:sldMk cId="880457747" sldId="5409"/>
            <ac:spMk id="26" creationId="{05C24279-04D5-B999-BD92-2EE32D868644}"/>
          </ac:spMkLst>
        </pc:spChg>
        <pc:spChg chg="mod">
          <ac:chgData name="Doerfler, Lena" userId="aeb0559f-200d-4a58-9e6d-125e1b704bf8" providerId="ADAL" clId="{2F42D7B1-B962-445E-8485-41980C3AF6B0}" dt="2023-03-01T14:15:19.483" v="7147" actId="207"/>
          <ac:spMkLst>
            <pc:docMk/>
            <pc:sldMk cId="880457747" sldId="5409"/>
            <ac:spMk id="27" creationId="{2EEF89C4-92E3-FBEF-2E2D-3A3E0B44CBE7}"/>
          </ac:spMkLst>
        </pc:spChg>
        <pc:spChg chg="mod">
          <ac:chgData name="Doerfler, Lena" userId="aeb0559f-200d-4a58-9e6d-125e1b704bf8" providerId="ADAL" clId="{2F42D7B1-B962-445E-8485-41980C3AF6B0}" dt="2023-03-01T14:15:19.488" v="7149" actId="207"/>
          <ac:spMkLst>
            <pc:docMk/>
            <pc:sldMk cId="880457747" sldId="5409"/>
            <ac:spMk id="28" creationId="{42AC83B7-875C-E977-A409-9BCBA0A659B9}"/>
          </ac:spMkLst>
        </pc:spChg>
        <pc:spChg chg="mod">
          <ac:chgData name="Doerfler, Lena" userId="aeb0559f-200d-4a58-9e6d-125e1b704bf8" providerId="ADAL" clId="{2F42D7B1-B962-445E-8485-41980C3AF6B0}" dt="2023-03-01T14:15:19.492" v="7151" actId="207"/>
          <ac:spMkLst>
            <pc:docMk/>
            <pc:sldMk cId="880457747" sldId="5409"/>
            <ac:spMk id="29" creationId="{1A8671AC-905E-141B-3F11-0D44A40AC0A5}"/>
          </ac:spMkLst>
        </pc:spChg>
        <pc:spChg chg="mod">
          <ac:chgData name="Doerfler, Lena" userId="aeb0559f-200d-4a58-9e6d-125e1b704bf8" providerId="ADAL" clId="{2F42D7B1-B962-445E-8485-41980C3AF6B0}" dt="2023-03-01T14:15:19.496" v="7153" actId="207"/>
          <ac:spMkLst>
            <pc:docMk/>
            <pc:sldMk cId="880457747" sldId="5409"/>
            <ac:spMk id="30" creationId="{02F71979-E977-78E0-275F-52EC0B53589B}"/>
          </ac:spMkLst>
        </pc:spChg>
        <pc:spChg chg="mod">
          <ac:chgData name="Doerfler, Lena" userId="aeb0559f-200d-4a58-9e6d-125e1b704bf8" providerId="ADAL" clId="{2F42D7B1-B962-445E-8485-41980C3AF6B0}" dt="2023-03-01T14:15:19.500" v="7155" actId="207"/>
          <ac:spMkLst>
            <pc:docMk/>
            <pc:sldMk cId="880457747" sldId="5409"/>
            <ac:spMk id="31" creationId="{DAC3BCC4-8C50-EDBB-DA18-97D709D3C178}"/>
          </ac:spMkLst>
        </pc:spChg>
        <pc:spChg chg="mod">
          <ac:chgData name="Doerfler, Lena" userId="aeb0559f-200d-4a58-9e6d-125e1b704bf8" providerId="ADAL" clId="{2F42D7B1-B962-445E-8485-41980C3AF6B0}" dt="2023-03-01T14:15:19.504" v="7157" actId="207"/>
          <ac:spMkLst>
            <pc:docMk/>
            <pc:sldMk cId="880457747" sldId="5409"/>
            <ac:spMk id="32" creationId="{0A7BF23B-34E5-E292-0B6A-7DC3F29B0DE4}"/>
          </ac:spMkLst>
        </pc:spChg>
        <pc:spChg chg="mod">
          <ac:chgData name="Doerfler, Lena" userId="aeb0559f-200d-4a58-9e6d-125e1b704bf8" providerId="ADAL" clId="{2F42D7B1-B962-445E-8485-41980C3AF6B0}" dt="2023-03-01T14:15:19.508" v="7159" actId="207"/>
          <ac:spMkLst>
            <pc:docMk/>
            <pc:sldMk cId="880457747" sldId="5409"/>
            <ac:spMk id="33" creationId="{BE188821-4F2C-FA60-A9C5-DCC5650EFB8F}"/>
          </ac:spMkLst>
        </pc:spChg>
        <pc:spChg chg="mod">
          <ac:chgData name="Doerfler, Lena" userId="aeb0559f-200d-4a58-9e6d-125e1b704bf8" providerId="ADAL" clId="{2F42D7B1-B962-445E-8485-41980C3AF6B0}" dt="2023-03-01T14:15:19.512" v="7161" actId="207"/>
          <ac:spMkLst>
            <pc:docMk/>
            <pc:sldMk cId="880457747" sldId="5409"/>
            <ac:spMk id="34" creationId="{3635C606-7707-172A-3806-776863AECE73}"/>
          </ac:spMkLst>
        </pc:spChg>
        <pc:spChg chg="mod">
          <ac:chgData name="Doerfler, Lena" userId="aeb0559f-200d-4a58-9e6d-125e1b704bf8" providerId="ADAL" clId="{2F42D7B1-B962-445E-8485-41980C3AF6B0}" dt="2023-03-01T14:15:19.514" v="7163" actId="207"/>
          <ac:spMkLst>
            <pc:docMk/>
            <pc:sldMk cId="880457747" sldId="5409"/>
            <ac:spMk id="35" creationId="{5EFF90C4-9811-10B9-7FBE-14CE9481BF19}"/>
          </ac:spMkLst>
        </pc:spChg>
        <pc:spChg chg="mod">
          <ac:chgData name="Doerfler, Lena" userId="aeb0559f-200d-4a58-9e6d-125e1b704bf8" providerId="ADAL" clId="{2F42D7B1-B962-445E-8485-41980C3AF6B0}" dt="2023-03-01T14:15:19.515" v="7165" actId="207"/>
          <ac:spMkLst>
            <pc:docMk/>
            <pc:sldMk cId="880457747" sldId="5409"/>
            <ac:spMk id="36" creationId="{7A80229B-F00E-4375-3D6E-08F4EC732DAD}"/>
          </ac:spMkLst>
        </pc:spChg>
        <pc:spChg chg="mod">
          <ac:chgData name="Doerfler, Lena" userId="aeb0559f-200d-4a58-9e6d-125e1b704bf8" providerId="ADAL" clId="{2F42D7B1-B962-445E-8485-41980C3AF6B0}" dt="2023-03-01T14:15:19.529" v="7181" actId="207"/>
          <ac:spMkLst>
            <pc:docMk/>
            <pc:sldMk cId="880457747" sldId="5409"/>
            <ac:spMk id="39" creationId="{79CB8919-73BF-06CE-6548-0A84C192E2F6}"/>
          </ac:spMkLst>
        </pc:spChg>
        <pc:spChg chg="mod">
          <ac:chgData name="Doerfler, Lena" userId="aeb0559f-200d-4a58-9e6d-125e1b704bf8" providerId="ADAL" clId="{2F42D7B1-B962-445E-8485-41980C3AF6B0}" dt="2023-03-01T14:15:19.192" v="7001" actId="207"/>
          <ac:spMkLst>
            <pc:docMk/>
            <pc:sldMk cId="880457747" sldId="5409"/>
            <ac:spMk id="45" creationId="{EDB0EB7B-1742-DB3E-FCF9-229AF9718C56}"/>
          </ac:spMkLst>
        </pc:spChg>
        <pc:spChg chg="mod">
          <ac:chgData name="Doerfler, Lena" userId="aeb0559f-200d-4a58-9e6d-125e1b704bf8" providerId="ADAL" clId="{2F42D7B1-B962-445E-8485-41980C3AF6B0}" dt="2023-03-01T14:15:19.195" v="7003" actId="207"/>
          <ac:spMkLst>
            <pc:docMk/>
            <pc:sldMk cId="880457747" sldId="5409"/>
            <ac:spMk id="46" creationId="{2D94117C-8236-C49A-1763-D1B1B87B849E}"/>
          </ac:spMkLst>
        </pc:spChg>
        <pc:spChg chg="mod">
          <ac:chgData name="Doerfler, Lena" userId="aeb0559f-200d-4a58-9e6d-125e1b704bf8" providerId="ADAL" clId="{2F42D7B1-B962-445E-8485-41980C3AF6B0}" dt="2023-03-01T14:15:19.546" v="7197" actId="208"/>
          <ac:spMkLst>
            <pc:docMk/>
            <pc:sldMk cId="880457747" sldId="5409"/>
            <ac:spMk id="60" creationId="{A2B0A868-E0BE-CBE9-27F2-1F38018DCB2D}"/>
          </ac:spMkLst>
        </pc:spChg>
        <pc:spChg chg="mod">
          <ac:chgData name="Doerfler, Lena" userId="aeb0559f-200d-4a58-9e6d-125e1b704bf8" providerId="ADAL" clId="{2F42D7B1-B962-445E-8485-41980C3AF6B0}" dt="2023-03-01T14:15:19.552" v="7205" actId="208"/>
          <ac:spMkLst>
            <pc:docMk/>
            <pc:sldMk cId="880457747" sldId="5409"/>
            <ac:spMk id="61" creationId="{9D1F46BE-FB38-0B6B-10E8-A2D2662635FF}"/>
          </ac:spMkLst>
        </pc:spChg>
        <pc:spChg chg="mod">
          <ac:chgData name="Doerfler, Lena" userId="aeb0559f-200d-4a58-9e6d-125e1b704bf8" providerId="ADAL" clId="{2F42D7B1-B962-445E-8485-41980C3AF6B0}" dt="2023-03-01T14:15:19.572" v="7227" actId="207"/>
          <ac:spMkLst>
            <pc:docMk/>
            <pc:sldMk cId="880457747" sldId="5409"/>
            <ac:spMk id="62" creationId="{43C7AB66-3912-2731-843B-27275FBBD9EF}"/>
          </ac:spMkLst>
        </pc:spChg>
        <pc:spChg chg="mod">
          <ac:chgData name="Doerfler, Lena" userId="aeb0559f-200d-4a58-9e6d-125e1b704bf8" providerId="ADAL" clId="{2F42D7B1-B962-445E-8485-41980C3AF6B0}" dt="2023-03-01T14:15:19.574" v="7229" actId="207"/>
          <ac:spMkLst>
            <pc:docMk/>
            <pc:sldMk cId="880457747" sldId="5409"/>
            <ac:spMk id="63" creationId="{79B550BB-248C-7F3A-6E66-EA2149D2EB5F}"/>
          </ac:spMkLst>
        </pc:spChg>
        <pc:spChg chg="mod">
          <ac:chgData name="Doerfler, Lena" userId="aeb0559f-200d-4a58-9e6d-125e1b704bf8" providerId="ADAL" clId="{2F42D7B1-B962-445E-8485-41980C3AF6B0}" dt="2023-03-01T14:15:19.456" v="7117" actId="207"/>
          <ac:spMkLst>
            <pc:docMk/>
            <pc:sldMk cId="880457747" sldId="5409"/>
            <ac:spMk id="70" creationId="{CB544F04-30AA-67A5-7DD6-105CAFED0C5F}"/>
          </ac:spMkLst>
        </pc:spChg>
        <pc:spChg chg="mod">
          <ac:chgData name="Doerfler, Lena" userId="aeb0559f-200d-4a58-9e6d-125e1b704bf8" providerId="ADAL" clId="{2F42D7B1-B962-445E-8485-41980C3AF6B0}" dt="2023-03-01T14:15:19.458" v="7119" actId="207"/>
          <ac:spMkLst>
            <pc:docMk/>
            <pc:sldMk cId="880457747" sldId="5409"/>
            <ac:spMk id="71" creationId="{C02A0AF5-1ABF-A905-ABA8-6C68B7EFD5D1}"/>
          </ac:spMkLst>
        </pc:spChg>
        <pc:spChg chg="mod">
          <ac:chgData name="Doerfler, Lena" userId="aeb0559f-200d-4a58-9e6d-125e1b704bf8" providerId="ADAL" clId="{2F42D7B1-B962-445E-8485-41980C3AF6B0}" dt="2023-03-01T14:15:19.459" v="7121" actId="207"/>
          <ac:spMkLst>
            <pc:docMk/>
            <pc:sldMk cId="880457747" sldId="5409"/>
            <ac:spMk id="72" creationId="{5EB19697-0575-2420-BECF-7F94F605D4D7}"/>
          </ac:spMkLst>
        </pc:spChg>
        <pc:spChg chg="mod">
          <ac:chgData name="Doerfler, Lena" userId="aeb0559f-200d-4a58-9e6d-125e1b704bf8" providerId="ADAL" clId="{2F42D7B1-B962-445E-8485-41980C3AF6B0}" dt="2023-03-01T14:15:19.461" v="7123" actId="207"/>
          <ac:spMkLst>
            <pc:docMk/>
            <pc:sldMk cId="880457747" sldId="5409"/>
            <ac:spMk id="73" creationId="{399DFB99-4EED-2546-D9C4-9A944C113F48}"/>
          </ac:spMkLst>
        </pc:spChg>
        <pc:spChg chg="mod">
          <ac:chgData name="Doerfler, Lena" userId="aeb0559f-200d-4a58-9e6d-125e1b704bf8" providerId="ADAL" clId="{2F42D7B1-B962-445E-8485-41980C3AF6B0}" dt="2023-03-01T14:15:19.463" v="7125" actId="207"/>
          <ac:spMkLst>
            <pc:docMk/>
            <pc:sldMk cId="880457747" sldId="5409"/>
            <ac:spMk id="74" creationId="{D449F2F8-C0C9-8288-BBF9-2B749C7CCA22}"/>
          </ac:spMkLst>
        </pc:spChg>
        <pc:spChg chg="mod">
          <ac:chgData name="Doerfler, Lena" userId="aeb0559f-200d-4a58-9e6d-125e1b704bf8" providerId="ADAL" clId="{2F42D7B1-B962-445E-8485-41980C3AF6B0}" dt="2023-03-01T14:15:19.465" v="7127" actId="207"/>
          <ac:spMkLst>
            <pc:docMk/>
            <pc:sldMk cId="880457747" sldId="5409"/>
            <ac:spMk id="75" creationId="{B6606001-5637-765A-FED3-84D37AE1F1EA}"/>
          </ac:spMkLst>
        </pc:spChg>
        <pc:spChg chg="mod">
          <ac:chgData name="Doerfler, Lena" userId="aeb0559f-200d-4a58-9e6d-125e1b704bf8" providerId="ADAL" clId="{2F42D7B1-B962-445E-8485-41980C3AF6B0}" dt="2023-03-01T14:15:19.466" v="7129" actId="207"/>
          <ac:spMkLst>
            <pc:docMk/>
            <pc:sldMk cId="880457747" sldId="5409"/>
            <ac:spMk id="76" creationId="{6FE86CCF-89F7-E3DF-1E5E-1920EB358AFB}"/>
          </ac:spMkLst>
        </pc:spChg>
        <pc:spChg chg="mod">
          <ac:chgData name="Doerfler, Lena" userId="aeb0559f-200d-4a58-9e6d-125e1b704bf8" providerId="ADAL" clId="{2F42D7B1-B962-445E-8485-41980C3AF6B0}" dt="2023-03-01T14:15:19.468" v="7131" actId="207"/>
          <ac:spMkLst>
            <pc:docMk/>
            <pc:sldMk cId="880457747" sldId="5409"/>
            <ac:spMk id="77" creationId="{E235B0D6-0F3E-0360-0EE8-AF67B7485B90}"/>
          </ac:spMkLst>
        </pc:spChg>
        <pc:spChg chg="mod">
          <ac:chgData name="Doerfler, Lena" userId="aeb0559f-200d-4a58-9e6d-125e1b704bf8" providerId="ADAL" clId="{2F42D7B1-B962-445E-8485-41980C3AF6B0}" dt="2023-03-01T14:15:19.526" v="7177" actId="207"/>
          <ac:spMkLst>
            <pc:docMk/>
            <pc:sldMk cId="880457747" sldId="5409"/>
            <ac:spMk id="80" creationId="{9D202BDC-18B8-46AA-CE3A-F6A64725C7AD}"/>
          </ac:spMkLst>
        </pc:spChg>
        <pc:spChg chg="mod">
          <ac:chgData name="Doerfler, Lena" userId="aeb0559f-200d-4a58-9e6d-125e1b704bf8" providerId="ADAL" clId="{2F42D7B1-B962-445E-8485-41980C3AF6B0}" dt="2023-03-01T14:15:19.185" v="6997" actId="207"/>
          <ac:spMkLst>
            <pc:docMk/>
            <pc:sldMk cId="880457747" sldId="5409"/>
            <ac:spMk id="86" creationId="{39E3CF40-BBFB-5854-8C3B-13A5496F40A8}"/>
          </ac:spMkLst>
        </pc:spChg>
        <pc:spChg chg="mod">
          <ac:chgData name="Doerfler, Lena" userId="aeb0559f-200d-4a58-9e6d-125e1b704bf8" providerId="ADAL" clId="{2F42D7B1-B962-445E-8485-41980C3AF6B0}" dt="2023-03-01T14:15:19.188" v="6999" actId="207"/>
          <ac:spMkLst>
            <pc:docMk/>
            <pc:sldMk cId="880457747" sldId="5409"/>
            <ac:spMk id="87" creationId="{A3A52708-0C04-590A-E9D4-D458A9D5CAFF}"/>
          </ac:spMkLst>
        </pc:spChg>
        <pc:spChg chg="mod">
          <ac:chgData name="Doerfler, Lena" userId="aeb0559f-200d-4a58-9e6d-125e1b704bf8" providerId="ADAL" clId="{2F42D7B1-B962-445E-8485-41980C3AF6B0}" dt="2023-03-01T14:15:19.175" v="6991" actId="207"/>
          <ac:spMkLst>
            <pc:docMk/>
            <pc:sldMk cId="880457747" sldId="5409"/>
            <ac:spMk id="117" creationId="{282F90BA-BF24-3151-CE07-3A3B900DCB1B}"/>
          </ac:spMkLst>
        </pc:spChg>
        <pc:spChg chg="mod">
          <ac:chgData name="Doerfler, Lena" userId="aeb0559f-200d-4a58-9e6d-125e1b704bf8" providerId="ADAL" clId="{2F42D7B1-B962-445E-8485-41980C3AF6B0}" dt="2023-03-01T14:15:19.180" v="6995" actId="207"/>
          <ac:spMkLst>
            <pc:docMk/>
            <pc:sldMk cId="880457747" sldId="5409"/>
            <ac:spMk id="118" creationId="{29CECACE-5AD8-894C-FFBF-521064AE12BA}"/>
          </ac:spMkLst>
        </pc:spChg>
        <pc:spChg chg="mod">
          <ac:chgData name="Doerfler, Lena" userId="aeb0559f-200d-4a58-9e6d-125e1b704bf8" providerId="ADAL" clId="{2F42D7B1-B962-445E-8485-41980C3AF6B0}" dt="2023-03-01T14:15:19.517" v="7167" actId="207"/>
          <ac:spMkLst>
            <pc:docMk/>
            <pc:sldMk cId="880457747" sldId="5409"/>
            <ac:spMk id="145" creationId="{B3AF62E7-4DE2-96DE-8BD0-CDB32CF154C4}"/>
          </ac:spMkLst>
        </pc:spChg>
        <pc:spChg chg="mod">
          <ac:chgData name="Doerfler, Lena" userId="aeb0559f-200d-4a58-9e6d-125e1b704bf8" providerId="ADAL" clId="{2F42D7B1-B962-445E-8485-41980C3AF6B0}" dt="2023-03-01T14:15:19.519" v="7169" actId="207"/>
          <ac:spMkLst>
            <pc:docMk/>
            <pc:sldMk cId="880457747" sldId="5409"/>
            <ac:spMk id="146" creationId="{C4AB6B99-89C2-5475-31C7-16F2AC54E60A}"/>
          </ac:spMkLst>
        </pc:spChg>
        <pc:spChg chg="mod">
          <ac:chgData name="Doerfler, Lena" userId="aeb0559f-200d-4a58-9e6d-125e1b704bf8" providerId="ADAL" clId="{2F42D7B1-B962-445E-8485-41980C3AF6B0}" dt="2023-03-01T14:15:19.521" v="7171" actId="207"/>
          <ac:spMkLst>
            <pc:docMk/>
            <pc:sldMk cId="880457747" sldId="5409"/>
            <ac:spMk id="147" creationId="{202F00B6-B258-A987-8162-7949313930FA}"/>
          </ac:spMkLst>
        </pc:spChg>
        <pc:spChg chg="mod">
          <ac:chgData name="Doerfler, Lena" userId="aeb0559f-200d-4a58-9e6d-125e1b704bf8" providerId="ADAL" clId="{2F42D7B1-B962-445E-8485-41980C3AF6B0}" dt="2023-03-01T14:15:19.522" v="7173" actId="207"/>
          <ac:spMkLst>
            <pc:docMk/>
            <pc:sldMk cId="880457747" sldId="5409"/>
            <ac:spMk id="148" creationId="{51DE21A6-3ED1-D7E7-B6B5-4B94E37EAB3D}"/>
          </ac:spMkLst>
        </pc:spChg>
        <pc:spChg chg="mod">
          <ac:chgData name="Doerfler, Lena" userId="aeb0559f-200d-4a58-9e6d-125e1b704bf8" providerId="ADAL" clId="{2F42D7B1-B962-445E-8485-41980C3AF6B0}" dt="2023-03-01T14:15:19.524" v="7175" actId="207"/>
          <ac:spMkLst>
            <pc:docMk/>
            <pc:sldMk cId="880457747" sldId="5409"/>
            <ac:spMk id="149" creationId="{41F03D45-074C-4827-08A6-61D6A554735E}"/>
          </ac:spMkLst>
        </pc:spChg>
        <pc:spChg chg="mod">
          <ac:chgData name="Doerfler, Lena" userId="aeb0559f-200d-4a58-9e6d-125e1b704bf8" providerId="ADAL" clId="{2F42D7B1-B962-445E-8485-41980C3AF6B0}" dt="2023-03-01T14:15:19.527" v="7179" actId="207"/>
          <ac:spMkLst>
            <pc:docMk/>
            <pc:sldMk cId="880457747" sldId="5409"/>
            <ac:spMk id="152" creationId="{E6890543-78F5-7E1D-9339-E399BBF371F0}"/>
          </ac:spMkLst>
        </pc:spChg>
        <pc:spChg chg="mod">
          <ac:chgData name="Doerfler, Lena" userId="aeb0559f-200d-4a58-9e6d-125e1b704bf8" providerId="ADAL" clId="{2F42D7B1-B962-445E-8485-41980C3AF6B0}" dt="2023-03-01T14:15:19.198" v="7005" actId="207"/>
          <ac:spMkLst>
            <pc:docMk/>
            <pc:sldMk cId="880457747" sldId="5409"/>
            <ac:spMk id="158" creationId="{A1DF0655-4DEE-B35A-67BF-E3720E7C7EAC}"/>
          </ac:spMkLst>
        </pc:spChg>
        <pc:spChg chg="mod">
          <ac:chgData name="Doerfler, Lena" userId="aeb0559f-200d-4a58-9e6d-125e1b704bf8" providerId="ADAL" clId="{2F42D7B1-B962-445E-8485-41980C3AF6B0}" dt="2023-03-01T14:15:19.201" v="7007" actId="207"/>
          <ac:spMkLst>
            <pc:docMk/>
            <pc:sldMk cId="880457747" sldId="5409"/>
            <ac:spMk id="159" creationId="{CDF99B2B-0C1F-FE83-1178-B6807EA1DBBD}"/>
          </ac:spMkLst>
        </pc:spChg>
        <pc:picChg chg="mod">
          <ac:chgData name="Doerfler, Lena" userId="aeb0559f-200d-4a58-9e6d-125e1b704bf8" providerId="ADAL" clId="{2F42D7B1-B962-445E-8485-41980C3AF6B0}" dt="2023-03-01T14:15:19.329" v="7047" actId="207"/>
          <ac:picMkLst>
            <pc:docMk/>
            <pc:sldMk cId="880457747" sldId="5409"/>
            <ac:picMk id="57" creationId="{1862B110-2417-20B9-D198-0BBAF609ABBE}"/>
          </ac:picMkLst>
        </pc:picChg>
        <pc:picChg chg="mod">
          <ac:chgData name="Doerfler, Lena" userId="aeb0559f-200d-4a58-9e6d-125e1b704bf8" providerId="ADAL" clId="{2F42D7B1-B962-445E-8485-41980C3AF6B0}" dt="2023-03-01T14:15:19.333" v="7049" actId="207"/>
          <ac:picMkLst>
            <pc:docMk/>
            <pc:sldMk cId="880457747" sldId="5409"/>
            <ac:picMk id="58" creationId="{CB2EA38F-D929-5C8E-912A-781CA6C61FE5}"/>
          </ac:picMkLst>
        </pc:picChg>
        <pc:picChg chg="mod">
          <ac:chgData name="Doerfler, Lena" userId="aeb0559f-200d-4a58-9e6d-125e1b704bf8" providerId="ADAL" clId="{2F42D7B1-B962-445E-8485-41980C3AF6B0}" dt="2023-03-01T14:15:19.337" v="7051" actId="207"/>
          <ac:picMkLst>
            <pc:docMk/>
            <pc:sldMk cId="880457747" sldId="5409"/>
            <ac:picMk id="59" creationId="{909E8A71-F178-BC5E-8AAE-524114460ADA}"/>
          </ac:picMkLst>
        </pc:picChg>
        <pc:picChg chg="mod">
          <ac:chgData name="Doerfler, Lena" userId="aeb0559f-200d-4a58-9e6d-125e1b704bf8" providerId="ADAL" clId="{2F42D7B1-B962-445E-8485-41980C3AF6B0}" dt="2023-03-01T14:15:19.341" v="7053" actId="207"/>
          <ac:picMkLst>
            <pc:docMk/>
            <pc:sldMk cId="880457747" sldId="5409"/>
            <ac:picMk id="68" creationId="{C1084D1B-7B36-91EA-BBFD-A99232BBDBF0}"/>
          </ac:picMkLst>
        </pc:picChg>
        <pc:picChg chg="mod">
          <ac:chgData name="Doerfler, Lena" userId="aeb0559f-200d-4a58-9e6d-125e1b704bf8" providerId="ADAL" clId="{2F42D7B1-B962-445E-8485-41980C3AF6B0}" dt="2023-03-01T14:15:19.314" v="7041" actId="207"/>
          <ac:picMkLst>
            <pc:docMk/>
            <pc:sldMk cId="880457747" sldId="5409"/>
            <ac:picMk id="99" creationId="{8BE47525-463D-3753-D36B-7F5196C2C4EB}"/>
          </ac:picMkLst>
        </pc:picChg>
        <pc:picChg chg="mod">
          <ac:chgData name="Doerfler, Lena" userId="aeb0559f-200d-4a58-9e6d-125e1b704bf8" providerId="ADAL" clId="{2F42D7B1-B962-445E-8485-41980C3AF6B0}" dt="2023-03-01T14:15:19.322" v="7043" actId="207"/>
          <ac:picMkLst>
            <pc:docMk/>
            <pc:sldMk cId="880457747" sldId="5409"/>
            <ac:picMk id="100" creationId="{D251C2A7-1897-04D4-C902-84E1D04F5872}"/>
          </ac:picMkLst>
        </pc:picChg>
        <pc:picChg chg="mod">
          <ac:chgData name="Doerfler, Lena" userId="aeb0559f-200d-4a58-9e6d-125e1b704bf8" providerId="ADAL" clId="{2F42D7B1-B962-445E-8485-41980C3AF6B0}" dt="2023-03-01T14:15:19.326" v="7045" actId="207"/>
          <ac:picMkLst>
            <pc:docMk/>
            <pc:sldMk cId="880457747" sldId="5409"/>
            <ac:picMk id="101" creationId="{53E1083A-C228-4EFD-001A-FCD7C5458AA2}"/>
          </ac:picMkLst>
        </pc:picChg>
        <pc:picChg chg="mod">
          <ac:chgData name="Doerfler, Lena" userId="aeb0559f-200d-4a58-9e6d-125e1b704bf8" providerId="ADAL" clId="{2F42D7B1-B962-445E-8485-41980C3AF6B0}" dt="2023-03-01T14:15:19.345" v="7055" actId="207"/>
          <ac:picMkLst>
            <pc:docMk/>
            <pc:sldMk cId="880457747" sldId="5409"/>
            <ac:picMk id="124" creationId="{8B956FBA-ED1C-12C4-F2CE-0B890D7DDE62}"/>
          </ac:picMkLst>
        </pc:picChg>
        <pc:picChg chg="mod">
          <ac:chgData name="Doerfler, Lena" userId="aeb0559f-200d-4a58-9e6d-125e1b704bf8" providerId="ADAL" clId="{2F42D7B1-B962-445E-8485-41980C3AF6B0}" dt="2023-03-01T14:15:19.350" v="7057" actId="207"/>
          <ac:picMkLst>
            <pc:docMk/>
            <pc:sldMk cId="880457747" sldId="5409"/>
            <ac:picMk id="125" creationId="{D702E31E-83D8-DE7F-827B-543721B29A26}"/>
          </ac:picMkLst>
        </pc:picChg>
        <pc:picChg chg="mod">
          <ac:chgData name="Doerfler, Lena" userId="aeb0559f-200d-4a58-9e6d-125e1b704bf8" providerId="ADAL" clId="{2F42D7B1-B962-445E-8485-41980C3AF6B0}" dt="2023-03-01T14:15:19.357" v="7059" actId="207"/>
          <ac:picMkLst>
            <pc:docMk/>
            <pc:sldMk cId="880457747" sldId="5409"/>
            <ac:picMk id="126" creationId="{3F77E694-3FF6-BEC2-393E-A3A41A504BD0}"/>
          </ac:picMkLst>
        </pc:picChg>
        <pc:cxnChg chg="mod">
          <ac:chgData name="Doerfler, Lena" userId="aeb0559f-200d-4a58-9e6d-125e1b704bf8" providerId="ADAL" clId="{2F42D7B1-B962-445E-8485-41980C3AF6B0}" dt="2023-03-01T14:15:19.539" v="7189" actId="208"/>
          <ac:cxnSpMkLst>
            <pc:docMk/>
            <pc:sldMk cId="880457747" sldId="5409"/>
            <ac:cxnSpMk id="41" creationId="{8CD73677-D617-0F43-5F55-CFF8E177460F}"/>
          </ac:cxnSpMkLst>
        </pc:cxnChg>
        <pc:cxnChg chg="mod">
          <ac:chgData name="Doerfler, Lena" userId="aeb0559f-200d-4a58-9e6d-125e1b704bf8" providerId="ADAL" clId="{2F42D7B1-B962-445E-8485-41980C3AF6B0}" dt="2023-03-01T14:15:19.541" v="7191" actId="208"/>
          <ac:cxnSpMkLst>
            <pc:docMk/>
            <pc:sldMk cId="880457747" sldId="5409"/>
            <ac:cxnSpMk id="42" creationId="{80B2EE34-F696-FBF0-B941-F7368FC1E422}"/>
          </ac:cxnSpMkLst>
        </pc:cxnChg>
        <pc:cxnChg chg="mod">
          <ac:chgData name="Doerfler, Lena" userId="aeb0559f-200d-4a58-9e6d-125e1b704bf8" providerId="ADAL" clId="{2F42D7B1-B962-445E-8485-41980C3AF6B0}" dt="2023-03-01T14:15:19.555" v="7209" actId="208"/>
          <ac:cxnSpMkLst>
            <pc:docMk/>
            <pc:sldMk cId="880457747" sldId="5409"/>
            <ac:cxnSpMk id="50" creationId="{9FE9C6A6-3C62-CE21-700B-3AC76B3EA72D}"/>
          </ac:cxnSpMkLst>
        </pc:cxnChg>
        <pc:cxnChg chg="mod">
          <ac:chgData name="Doerfler, Lena" userId="aeb0559f-200d-4a58-9e6d-125e1b704bf8" providerId="ADAL" clId="{2F42D7B1-B962-445E-8485-41980C3AF6B0}" dt="2023-03-01T14:15:19.557" v="7211" actId="208"/>
          <ac:cxnSpMkLst>
            <pc:docMk/>
            <pc:sldMk cId="880457747" sldId="5409"/>
            <ac:cxnSpMk id="51" creationId="{0C6484E1-CD10-9C7D-1C18-AC490771AEFD}"/>
          </ac:cxnSpMkLst>
        </pc:cxnChg>
        <pc:cxnChg chg="mod">
          <ac:chgData name="Doerfler, Lena" userId="aeb0559f-200d-4a58-9e6d-125e1b704bf8" providerId="ADAL" clId="{2F42D7B1-B962-445E-8485-41980C3AF6B0}" dt="2023-03-01T14:15:19.559" v="7213" actId="208"/>
          <ac:cxnSpMkLst>
            <pc:docMk/>
            <pc:sldMk cId="880457747" sldId="5409"/>
            <ac:cxnSpMk id="52" creationId="{B8510A3B-893A-65CD-1513-C21BA617E2F3}"/>
          </ac:cxnSpMkLst>
        </pc:cxnChg>
        <pc:cxnChg chg="mod">
          <ac:chgData name="Doerfler, Lena" userId="aeb0559f-200d-4a58-9e6d-125e1b704bf8" providerId="ADAL" clId="{2F42D7B1-B962-445E-8485-41980C3AF6B0}" dt="2023-03-01T14:15:19.560" v="7215" actId="208"/>
          <ac:cxnSpMkLst>
            <pc:docMk/>
            <pc:sldMk cId="880457747" sldId="5409"/>
            <ac:cxnSpMk id="53" creationId="{EB703026-9AAB-BB3E-DA4A-99C40161587B}"/>
          </ac:cxnSpMkLst>
        </pc:cxnChg>
        <pc:cxnChg chg="mod">
          <ac:chgData name="Doerfler, Lena" userId="aeb0559f-200d-4a58-9e6d-125e1b704bf8" providerId="ADAL" clId="{2F42D7B1-B962-445E-8485-41980C3AF6B0}" dt="2023-03-01T14:15:19.536" v="7185" actId="208"/>
          <ac:cxnSpMkLst>
            <pc:docMk/>
            <pc:sldMk cId="880457747" sldId="5409"/>
            <ac:cxnSpMk id="82" creationId="{C7AF584C-83FD-EDAD-BEAC-FC0E009345AC}"/>
          </ac:cxnSpMkLst>
        </pc:cxnChg>
        <pc:cxnChg chg="mod">
          <ac:chgData name="Doerfler, Lena" userId="aeb0559f-200d-4a58-9e6d-125e1b704bf8" providerId="ADAL" clId="{2F42D7B1-B962-445E-8485-41980C3AF6B0}" dt="2023-03-01T14:15:19.538" v="7187" actId="208"/>
          <ac:cxnSpMkLst>
            <pc:docMk/>
            <pc:sldMk cId="880457747" sldId="5409"/>
            <ac:cxnSpMk id="83" creationId="{5E36ABCB-4459-4672-B698-6D4549289E01}"/>
          </ac:cxnSpMkLst>
        </pc:cxnChg>
        <pc:cxnChg chg="mod">
          <ac:chgData name="Doerfler, Lena" userId="aeb0559f-200d-4a58-9e6d-125e1b704bf8" providerId="ADAL" clId="{2F42D7B1-B962-445E-8485-41980C3AF6B0}" dt="2023-03-01T14:15:19.542" v="7193" actId="208"/>
          <ac:cxnSpMkLst>
            <pc:docMk/>
            <pc:sldMk cId="880457747" sldId="5409"/>
            <ac:cxnSpMk id="154" creationId="{B5CD0C59-DD01-08B5-AAE9-9AA0C95E3D84}"/>
          </ac:cxnSpMkLst>
        </pc:cxnChg>
        <pc:cxnChg chg="mod">
          <ac:chgData name="Doerfler, Lena" userId="aeb0559f-200d-4a58-9e6d-125e1b704bf8" providerId="ADAL" clId="{2F42D7B1-B962-445E-8485-41980C3AF6B0}" dt="2023-03-01T14:15:19.544" v="7195" actId="208"/>
          <ac:cxnSpMkLst>
            <pc:docMk/>
            <pc:sldMk cId="880457747" sldId="5409"/>
            <ac:cxnSpMk id="155" creationId="{C9F6F0DE-D259-E67B-9EF1-9F7748844614}"/>
          </ac:cxnSpMkLst>
        </pc:cxnChg>
      </pc:sldChg>
      <pc:sldChg chg="addSp modSp add del ord">
        <pc:chgData name="Doerfler, Lena" userId="aeb0559f-200d-4a58-9e6d-125e1b704bf8" providerId="ADAL" clId="{2F42D7B1-B962-445E-8485-41980C3AF6B0}" dt="2023-03-01T14:16:31.462" v="8319" actId="2696"/>
        <pc:sldMkLst>
          <pc:docMk/>
          <pc:sldMk cId="721339627" sldId="5410"/>
        </pc:sldMkLst>
        <pc:spChg chg="add mod">
          <ac:chgData name="Doerfler, Lena" userId="aeb0559f-200d-4a58-9e6d-125e1b704bf8" providerId="ADAL" clId="{2F42D7B1-B962-445E-8485-41980C3AF6B0}" dt="2023-03-01T14:15:12.079" v="6869"/>
          <ac:spMkLst>
            <pc:docMk/>
            <pc:sldMk cId="721339627" sldId="5410"/>
            <ac:spMk id="3" creationId="{149B27D5-ABE3-48C4-C1C2-A3A6336DCB2B}"/>
          </ac:spMkLst>
        </pc:spChg>
        <pc:spChg chg="add mod">
          <ac:chgData name="Doerfler, Lena" userId="aeb0559f-200d-4a58-9e6d-125e1b704bf8" providerId="ADAL" clId="{2F42D7B1-B962-445E-8485-41980C3AF6B0}" dt="2023-03-01T14:15:12.080" v="6870"/>
          <ac:spMkLst>
            <pc:docMk/>
            <pc:sldMk cId="721339627" sldId="5410"/>
            <ac:spMk id="5" creationId="{63284971-B5C6-AED6-F8E5-204B8AD78A03}"/>
          </ac:spMkLst>
        </pc:spChg>
        <pc:spChg chg="add mod">
          <ac:chgData name="Doerfler, Lena" userId="aeb0559f-200d-4a58-9e6d-125e1b704bf8" providerId="ADAL" clId="{2F42D7B1-B962-445E-8485-41980C3AF6B0}" dt="2023-03-01T14:15:12.081" v="6871"/>
          <ac:spMkLst>
            <pc:docMk/>
            <pc:sldMk cId="721339627" sldId="5410"/>
            <ac:spMk id="7" creationId="{489DCCF6-C55A-F77D-6C3C-F2FD5A84EA07}"/>
          </ac:spMkLst>
        </pc:spChg>
      </pc:sldChg>
      <pc:sldChg chg="addSp modSp add del ord">
        <pc:chgData name="Doerfler, Lena" userId="aeb0559f-200d-4a58-9e6d-125e1b704bf8" providerId="ADAL" clId="{2F42D7B1-B962-445E-8485-41980C3AF6B0}" dt="2023-03-01T14:16:31.474" v="8320" actId="2696"/>
        <pc:sldMkLst>
          <pc:docMk/>
          <pc:sldMk cId="3996784030" sldId="5411"/>
        </pc:sldMkLst>
        <pc:spChg chg="add mod">
          <ac:chgData name="Doerfler, Lena" userId="aeb0559f-200d-4a58-9e6d-125e1b704bf8" providerId="ADAL" clId="{2F42D7B1-B962-445E-8485-41980C3AF6B0}" dt="2023-03-01T14:15:12.392" v="6874"/>
          <ac:spMkLst>
            <pc:docMk/>
            <pc:sldMk cId="3996784030" sldId="5411"/>
            <ac:spMk id="3" creationId="{9B413BB9-2276-76F1-F1E2-F3C9CFECCB47}"/>
          </ac:spMkLst>
        </pc:spChg>
        <pc:spChg chg="add mod">
          <ac:chgData name="Doerfler, Lena" userId="aeb0559f-200d-4a58-9e6d-125e1b704bf8" providerId="ADAL" clId="{2F42D7B1-B962-445E-8485-41980C3AF6B0}" dt="2023-03-01T14:15:12.393" v="6875"/>
          <ac:spMkLst>
            <pc:docMk/>
            <pc:sldMk cId="3996784030" sldId="5411"/>
            <ac:spMk id="5" creationId="{483D7C6B-B27F-9B72-9546-0ADDDF1A6671}"/>
          </ac:spMkLst>
        </pc:spChg>
        <pc:spChg chg="add mod">
          <ac:chgData name="Doerfler, Lena" userId="aeb0559f-200d-4a58-9e6d-125e1b704bf8" providerId="ADAL" clId="{2F42D7B1-B962-445E-8485-41980C3AF6B0}" dt="2023-03-01T14:15:12.394" v="6876"/>
          <ac:spMkLst>
            <pc:docMk/>
            <pc:sldMk cId="3996784030" sldId="5411"/>
            <ac:spMk id="6" creationId="{5FFF14C8-B772-1DE9-24E1-985C011D7555}"/>
          </ac:spMkLst>
        </pc:spChg>
      </pc:sldChg>
      <pc:sldChg chg="addSp modSp add del ord">
        <pc:chgData name="Doerfler, Lena" userId="aeb0559f-200d-4a58-9e6d-125e1b704bf8" providerId="ADAL" clId="{2F42D7B1-B962-445E-8485-41980C3AF6B0}" dt="2023-03-01T14:16:31.486" v="8321" actId="2696"/>
        <pc:sldMkLst>
          <pc:docMk/>
          <pc:sldMk cId="3988706691" sldId="5412"/>
        </pc:sldMkLst>
        <pc:spChg chg="add mod">
          <ac:chgData name="Doerfler, Lena" userId="aeb0559f-200d-4a58-9e6d-125e1b704bf8" providerId="ADAL" clId="{2F42D7B1-B962-445E-8485-41980C3AF6B0}" dt="2023-03-01T14:15:14.372" v="6879"/>
          <ac:spMkLst>
            <pc:docMk/>
            <pc:sldMk cId="3988706691" sldId="5412"/>
            <ac:spMk id="4" creationId="{1F2E025D-F568-A622-5843-A7697063E85C}"/>
          </ac:spMkLst>
        </pc:spChg>
        <pc:spChg chg="add mod">
          <ac:chgData name="Doerfler, Lena" userId="aeb0559f-200d-4a58-9e6d-125e1b704bf8" providerId="ADAL" clId="{2F42D7B1-B962-445E-8485-41980C3AF6B0}" dt="2023-03-01T14:15:14.373" v="6880"/>
          <ac:spMkLst>
            <pc:docMk/>
            <pc:sldMk cId="3988706691" sldId="5412"/>
            <ac:spMk id="5" creationId="{6EB0EE57-CC66-0F57-FFD9-D05D392A9F22}"/>
          </ac:spMkLst>
        </pc:spChg>
        <pc:spChg chg="add mod">
          <ac:chgData name="Doerfler, Lena" userId="aeb0559f-200d-4a58-9e6d-125e1b704bf8" providerId="ADAL" clId="{2F42D7B1-B962-445E-8485-41980C3AF6B0}" dt="2023-03-01T14:15:14.374" v="6881"/>
          <ac:spMkLst>
            <pc:docMk/>
            <pc:sldMk cId="3988706691" sldId="5412"/>
            <ac:spMk id="6" creationId="{20E6565D-1842-A33D-ADF9-DE6DC231A9D2}"/>
          </ac:spMkLst>
        </pc:spChg>
      </pc:sldChg>
      <pc:sldChg chg="addSp modSp add del mod ord">
        <pc:chgData name="Doerfler, Lena" userId="aeb0559f-200d-4a58-9e6d-125e1b704bf8" providerId="ADAL" clId="{2F42D7B1-B962-445E-8485-41980C3AF6B0}" dt="2023-03-01T14:16:31.526" v="8322" actId="2696"/>
        <pc:sldMkLst>
          <pc:docMk/>
          <pc:sldMk cId="3038217661" sldId="5413"/>
        </pc:sldMkLst>
        <pc:spChg chg="add mod">
          <ac:chgData name="Doerfler, Lena" userId="aeb0559f-200d-4a58-9e6d-125e1b704bf8" providerId="ADAL" clId="{2F42D7B1-B962-445E-8485-41980C3AF6B0}" dt="2023-03-01T14:15:15.865" v="6884"/>
          <ac:spMkLst>
            <pc:docMk/>
            <pc:sldMk cId="3038217661" sldId="5413"/>
            <ac:spMk id="7" creationId="{1872A8B0-7C98-D303-8C0A-8F3D27622A12}"/>
          </ac:spMkLst>
        </pc:spChg>
        <pc:spChg chg="add mod">
          <ac:chgData name="Doerfler, Lena" userId="aeb0559f-200d-4a58-9e6d-125e1b704bf8" providerId="ADAL" clId="{2F42D7B1-B962-445E-8485-41980C3AF6B0}" dt="2023-03-01T14:15:15.867" v="6885"/>
          <ac:spMkLst>
            <pc:docMk/>
            <pc:sldMk cId="3038217661" sldId="5413"/>
            <ac:spMk id="29" creationId="{BC212FF7-FC00-8AA6-D0CC-B201DA4C3A67}"/>
          </ac:spMkLst>
        </pc:spChg>
        <pc:spChg chg="add mod">
          <ac:chgData name="Doerfler, Lena" userId="aeb0559f-200d-4a58-9e6d-125e1b704bf8" providerId="ADAL" clId="{2F42D7B1-B962-445E-8485-41980C3AF6B0}" dt="2023-03-01T14:15:15.870" v="6886"/>
          <ac:spMkLst>
            <pc:docMk/>
            <pc:sldMk cId="3038217661" sldId="5413"/>
            <ac:spMk id="30" creationId="{C985B5B6-95A1-4BC0-4C90-0F95D2872260}"/>
          </ac:spMkLst>
        </pc:spChg>
        <pc:spChg chg="mod">
          <ac:chgData name="Doerfler, Lena" userId="aeb0559f-200d-4a58-9e6d-125e1b704bf8" providerId="ADAL" clId="{2F42D7B1-B962-445E-8485-41980C3AF6B0}" dt="2023-03-01T14:15:19.206" v="7009" actId="207"/>
          <ac:spMkLst>
            <pc:docMk/>
            <pc:sldMk cId="3038217661" sldId="5413"/>
            <ac:spMk id="358" creationId="{92F883C8-FD9A-4777-844C-428224C35FD4}"/>
          </ac:spMkLst>
        </pc:spChg>
        <pc:spChg chg="mod">
          <ac:chgData name="Doerfler, Lena" userId="aeb0559f-200d-4a58-9e6d-125e1b704bf8" providerId="ADAL" clId="{2F42D7B1-B962-445E-8485-41980C3AF6B0}" dt="2023-03-01T14:15:19.211" v="7011" actId="207"/>
          <ac:spMkLst>
            <pc:docMk/>
            <pc:sldMk cId="3038217661" sldId="5413"/>
            <ac:spMk id="359" creationId="{4297CCA8-28B5-428F-8A10-4EE013076E5D}"/>
          </ac:spMkLst>
        </pc:spChg>
        <pc:spChg chg="mod">
          <ac:chgData name="Doerfler, Lena" userId="aeb0559f-200d-4a58-9e6d-125e1b704bf8" providerId="ADAL" clId="{2F42D7B1-B962-445E-8485-41980C3AF6B0}" dt="2023-03-01T14:15:19.215" v="7013" actId="207"/>
          <ac:spMkLst>
            <pc:docMk/>
            <pc:sldMk cId="3038217661" sldId="5413"/>
            <ac:spMk id="362" creationId="{9813602F-01AA-4471-8E3C-71FC8C2A9FC0}"/>
          </ac:spMkLst>
        </pc:spChg>
        <pc:spChg chg="mod">
          <ac:chgData name="Doerfler, Lena" userId="aeb0559f-200d-4a58-9e6d-125e1b704bf8" providerId="ADAL" clId="{2F42D7B1-B962-445E-8485-41980C3AF6B0}" dt="2023-03-01T14:15:19.219" v="7015" actId="207"/>
          <ac:spMkLst>
            <pc:docMk/>
            <pc:sldMk cId="3038217661" sldId="5413"/>
            <ac:spMk id="363" creationId="{A8E47F97-A8B9-4981-AAD1-7B9C66DE53F6}"/>
          </ac:spMkLst>
        </pc:spChg>
        <pc:spChg chg="mod">
          <ac:chgData name="Doerfler, Lena" userId="aeb0559f-200d-4a58-9e6d-125e1b704bf8" providerId="ADAL" clId="{2F42D7B1-B962-445E-8485-41980C3AF6B0}" dt="2023-03-01T14:15:19.222" v="7017" actId="207"/>
          <ac:spMkLst>
            <pc:docMk/>
            <pc:sldMk cId="3038217661" sldId="5413"/>
            <ac:spMk id="364" creationId="{1F121789-3A9A-4D9C-8EE2-0304E0D816AA}"/>
          </ac:spMkLst>
        </pc:spChg>
        <pc:spChg chg="mod">
          <ac:chgData name="Doerfler, Lena" userId="aeb0559f-200d-4a58-9e6d-125e1b704bf8" providerId="ADAL" clId="{2F42D7B1-B962-445E-8485-41980C3AF6B0}" dt="2023-03-01T14:15:19.225" v="7019" actId="207"/>
          <ac:spMkLst>
            <pc:docMk/>
            <pc:sldMk cId="3038217661" sldId="5413"/>
            <ac:spMk id="365" creationId="{2E2286BC-467D-4FD3-BF3F-FDC5271E8EB4}"/>
          </ac:spMkLst>
        </pc:spChg>
        <pc:picChg chg="mod">
          <ac:chgData name="Doerfler, Lena" userId="aeb0559f-200d-4a58-9e6d-125e1b704bf8" providerId="ADAL" clId="{2F42D7B1-B962-445E-8485-41980C3AF6B0}" dt="2023-03-01T14:15:19.407" v="7079" actId="207"/>
          <ac:picMkLst>
            <pc:docMk/>
            <pc:sldMk cId="3038217661" sldId="5413"/>
            <ac:picMk id="31" creationId="{FCCB6AF6-E963-B472-1A11-8A05F58B2E49}"/>
          </ac:picMkLst>
        </pc:picChg>
        <pc:picChg chg="mod">
          <ac:chgData name="Doerfler, Lena" userId="aeb0559f-200d-4a58-9e6d-125e1b704bf8" providerId="ADAL" clId="{2F42D7B1-B962-445E-8485-41980C3AF6B0}" dt="2023-03-01T14:15:19.392" v="7073" actId="207"/>
          <ac:picMkLst>
            <pc:docMk/>
            <pc:sldMk cId="3038217661" sldId="5413"/>
            <ac:picMk id="96" creationId="{F68B06E0-AA92-4AA8-AD72-0AE1453F5C08}"/>
          </ac:picMkLst>
        </pc:picChg>
        <pc:picChg chg="mod">
          <ac:chgData name="Doerfler, Lena" userId="aeb0559f-200d-4a58-9e6d-125e1b704bf8" providerId="ADAL" clId="{2F42D7B1-B962-445E-8485-41980C3AF6B0}" dt="2023-03-01T14:15:19.397" v="7075" actId="207"/>
          <ac:picMkLst>
            <pc:docMk/>
            <pc:sldMk cId="3038217661" sldId="5413"/>
            <ac:picMk id="97" creationId="{D7D6232B-58DF-434C-8AA5-52D3D3732027}"/>
          </ac:picMkLst>
        </pc:picChg>
        <pc:picChg chg="mod">
          <ac:chgData name="Doerfler, Lena" userId="aeb0559f-200d-4a58-9e6d-125e1b704bf8" providerId="ADAL" clId="{2F42D7B1-B962-445E-8485-41980C3AF6B0}" dt="2023-03-01T14:15:19.402" v="7077" actId="207"/>
          <ac:picMkLst>
            <pc:docMk/>
            <pc:sldMk cId="3038217661" sldId="5413"/>
            <ac:picMk id="98" creationId="{D66E16E7-9E7C-48E9-A6C5-7EECAF3D3087}"/>
          </ac:picMkLst>
        </pc:picChg>
        <pc:picChg chg="mod">
          <ac:chgData name="Doerfler, Lena" userId="aeb0559f-200d-4a58-9e6d-125e1b704bf8" providerId="ADAL" clId="{2F42D7B1-B962-445E-8485-41980C3AF6B0}" dt="2023-03-01T14:15:19.379" v="7067" actId="207"/>
          <ac:picMkLst>
            <pc:docMk/>
            <pc:sldMk cId="3038217661" sldId="5413"/>
            <ac:picMk id="190" creationId="{CE356AB5-AA4F-4C10-9EE2-A9051260BE6C}"/>
          </ac:picMkLst>
        </pc:picChg>
        <pc:picChg chg="mod">
          <ac:chgData name="Doerfler, Lena" userId="aeb0559f-200d-4a58-9e6d-125e1b704bf8" providerId="ADAL" clId="{2F42D7B1-B962-445E-8485-41980C3AF6B0}" dt="2023-03-01T14:15:19.384" v="7069" actId="207"/>
          <ac:picMkLst>
            <pc:docMk/>
            <pc:sldMk cId="3038217661" sldId="5413"/>
            <ac:picMk id="191" creationId="{97109D76-CAA5-45B3-9F29-349AF37C43CF}"/>
          </ac:picMkLst>
        </pc:picChg>
        <pc:picChg chg="mod">
          <ac:chgData name="Doerfler, Lena" userId="aeb0559f-200d-4a58-9e6d-125e1b704bf8" providerId="ADAL" clId="{2F42D7B1-B962-445E-8485-41980C3AF6B0}" dt="2023-03-01T14:15:19.389" v="7071" actId="207"/>
          <ac:picMkLst>
            <pc:docMk/>
            <pc:sldMk cId="3038217661" sldId="5413"/>
            <ac:picMk id="192" creationId="{35CA6CF7-10B1-4CD4-B066-A91B8E5B6412}"/>
          </ac:picMkLst>
        </pc:picChg>
        <pc:picChg chg="mod">
          <ac:chgData name="Doerfler, Lena" userId="aeb0559f-200d-4a58-9e6d-125e1b704bf8" providerId="ADAL" clId="{2F42D7B1-B962-445E-8485-41980C3AF6B0}" dt="2023-03-01T14:15:19.363" v="7061" actId="207"/>
          <ac:picMkLst>
            <pc:docMk/>
            <pc:sldMk cId="3038217661" sldId="5413"/>
            <ac:picMk id="308" creationId="{F4B95EE2-871C-4597-BFFF-2397D73A0975}"/>
          </ac:picMkLst>
        </pc:picChg>
        <pc:picChg chg="mod">
          <ac:chgData name="Doerfler, Lena" userId="aeb0559f-200d-4a58-9e6d-125e1b704bf8" providerId="ADAL" clId="{2F42D7B1-B962-445E-8485-41980C3AF6B0}" dt="2023-03-01T14:15:19.368" v="7063" actId="207"/>
          <ac:picMkLst>
            <pc:docMk/>
            <pc:sldMk cId="3038217661" sldId="5413"/>
            <ac:picMk id="309" creationId="{C404BF63-233D-4338-A80A-56A8DAC1C979}"/>
          </ac:picMkLst>
        </pc:picChg>
        <pc:picChg chg="mod">
          <ac:chgData name="Doerfler, Lena" userId="aeb0559f-200d-4a58-9e6d-125e1b704bf8" providerId="ADAL" clId="{2F42D7B1-B962-445E-8485-41980C3AF6B0}" dt="2023-03-01T14:15:19.375" v="7065" actId="207"/>
          <ac:picMkLst>
            <pc:docMk/>
            <pc:sldMk cId="3038217661" sldId="5413"/>
            <ac:picMk id="310" creationId="{B224F808-80C4-45A8-9031-A9B91CD8CCD6}"/>
          </ac:picMkLst>
        </pc:picChg>
        <pc:cxnChg chg="mod">
          <ac:chgData name="Doerfler, Lena" userId="aeb0559f-200d-4a58-9e6d-125e1b704bf8" providerId="ADAL" clId="{2F42D7B1-B962-445E-8485-41980C3AF6B0}" dt="2023-03-01T14:15:19.562" v="7217" actId="208"/>
          <ac:cxnSpMkLst>
            <pc:docMk/>
            <pc:sldMk cId="3038217661" sldId="5413"/>
            <ac:cxnSpMk id="321" creationId="{B4D47E88-5B89-4003-A95D-7A9B7704D6EB}"/>
          </ac:cxnSpMkLst>
        </pc:cxnChg>
        <pc:cxnChg chg="mod">
          <ac:chgData name="Doerfler, Lena" userId="aeb0559f-200d-4a58-9e6d-125e1b704bf8" providerId="ADAL" clId="{2F42D7B1-B962-445E-8485-41980C3AF6B0}" dt="2023-03-01T14:15:19.563" v="7219" actId="208"/>
          <ac:cxnSpMkLst>
            <pc:docMk/>
            <pc:sldMk cId="3038217661" sldId="5413"/>
            <ac:cxnSpMk id="322" creationId="{C9C2E2D0-C445-42D6-A5E9-F617A75F29B3}"/>
          </ac:cxnSpMkLst>
        </pc:cxnChg>
        <pc:cxnChg chg="mod">
          <ac:chgData name="Doerfler, Lena" userId="aeb0559f-200d-4a58-9e6d-125e1b704bf8" providerId="ADAL" clId="{2F42D7B1-B962-445E-8485-41980C3AF6B0}" dt="2023-03-01T14:15:19.565" v="7221" actId="208"/>
          <ac:cxnSpMkLst>
            <pc:docMk/>
            <pc:sldMk cId="3038217661" sldId="5413"/>
            <ac:cxnSpMk id="324" creationId="{DE14D8DB-8F2E-4FB8-BE42-645DDE987B37}"/>
          </ac:cxnSpMkLst>
        </pc:cxnChg>
        <pc:cxnChg chg="mod">
          <ac:chgData name="Doerfler, Lena" userId="aeb0559f-200d-4a58-9e6d-125e1b704bf8" providerId="ADAL" clId="{2F42D7B1-B962-445E-8485-41980C3AF6B0}" dt="2023-03-01T14:15:19.567" v="7223" actId="208"/>
          <ac:cxnSpMkLst>
            <pc:docMk/>
            <pc:sldMk cId="3038217661" sldId="5413"/>
            <ac:cxnSpMk id="325" creationId="{6E4A0EF2-1DBF-453A-AE4A-03D7C7219E5D}"/>
          </ac:cxnSpMkLst>
        </pc:cxnChg>
      </pc:sldChg>
      <pc:sldChg chg="add del">
        <pc:chgData name="Doerfler, Lena" userId="aeb0559f-200d-4a58-9e6d-125e1b704bf8" providerId="ADAL" clId="{2F42D7B1-B962-445E-8485-41980C3AF6B0}" dt="2023-03-01T14:15:16.685" v="6935" actId="2696"/>
        <pc:sldMkLst>
          <pc:docMk/>
          <pc:sldMk cId="181719871" sldId="5414"/>
        </pc:sldMkLst>
      </pc:sldChg>
      <pc:sldChg chg="add del">
        <pc:chgData name="Doerfler, Lena" userId="aeb0559f-200d-4a58-9e6d-125e1b704bf8" providerId="ADAL" clId="{2F42D7B1-B962-445E-8485-41980C3AF6B0}" dt="2023-03-01T14:15:17.059" v="6961" actId="2696"/>
        <pc:sldMkLst>
          <pc:docMk/>
          <pc:sldMk cId="399144421" sldId="5414"/>
        </pc:sldMkLst>
      </pc:sldChg>
      <pc:sldChg chg="add del">
        <pc:chgData name="Doerfler, Lena" userId="aeb0559f-200d-4a58-9e6d-125e1b704bf8" providerId="ADAL" clId="{2F42D7B1-B962-445E-8485-41980C3AF6B0}" dt="2023-03-01T14:15:17.152" v="6967" actId="2696"/>
        <pc:sldMkLst>
          <pc:docMk/>
          <pc:sldMk cId="511655704" sldId="5414"/>
        </pc:sldMkLst>
      </pc:sldChg>
      <pc:sldChg chg="add del">
        <pc:chgData name="Doerfler, Lena" userId="aeb0559f-200d-4a58-9e6d-125e1b704bf8" providerId="ADAL" clId="{2F42D7B1-B962-445E-8485-41980C3AF6B0}" dt="2023-03-01T14:15:16.774" v="6941" actId="2696"/>
        <pc:sldMkLst>
          <pc:docMk/>
          <pc:sldMk cId="540477424" sldId="5414"/>
        </pc:sldMkLst>
      </pc:sldChg>
      <pc:sldChg chg="add del">
        <pc:chgData name="Doerfler, Lena" userId="aeb0559f-200d-4a58-9e6d-125e1b704bf8" providerId="ADAL" clId="{2F42D7B1-B962-445E-8485-41980C3AF6B0}" dt="2023-03-01T14:15:16.532" v="6927" actId="2696"/>
        <pc:sldMkLst>
          <pc:docMk/>
          <pc:sldMk cId="595815149" sldId="5414"/>
        </pc:sldMkLst>
      </pc:sldChg>
      <pc:sldChg chg="add del">
        <pc:chgData name="Doerfler, Lena" userId="aeb0559f-200d-4a58-9e6d-125e1b704bf8" providerId="ADAL" clId="{2F42D7B1-B962-445E-8485-41980C3AF6B0}" dt="2023-03-01T14:15:16.748" v="6939" actId="2696"/>
        <pc:sldMkLst>
          <pc:docMk/>
          <pc:sldMk cId="653429778" sldId="5414"/>
        </pc:sldMkLst>
      </pc:sldChg>
      <pc:sldChg chg="add del">
        <pc:chgData name="Doerfler, Lena" userId="aeb0559f-200d-4a58-9e6d-125e1b704bf8" providerId="ADAL" clId="{2F42D7B1-B962-445E-8485-41980C3AF6B0}" dt="2023-03-01T14:15:16.943" v="6953" actId="2696"/>
        <pc:sldMkLst>
          <pc:docMk/>
          <pc:sldMk cId="897549722" sldId="5414"/>
        </pc:sldMkLst>
      </pc:sldChg>
      <pc:sldChg chg="add del">
        <pc:chgData name="Doerfler, Lena" userId="aeb0559f-200d-4a58-9e6d-125e1b704bf8" providerId="ADAL" clId="{2F42D7B1-B962-445E-8485-41980C3AF6B0}" dt="2023-03-01T14:15:16.464" v="6925" actId="2696"/>
        <pc:sldMkLst>
          <pc:docMk/>
          <pc:sldMk cId="933741253" sldId="5414"/>
        </pc:sldMkLst>
      </pc:sldChg>
      <pc:sldChg chg="add del">
        <pc:chgData name="Doerfler, Lena" userId="aeb0559f-200d-4a58-9e6d-125e1b704bf8" providerId="ADAL" clId="{2F42D7B1-B962-445E-8485-41980C3AF6B0}" dt="2023-03-01T14:15:17.025" v="6959" actId="2696"/>
        <pc:sldMkLst>
          <pc:docMk/>
          <pc:sldMk cId="945289749" sldId="5414"/>
        </pc:sldMkLst>
      </pc:sldChg>
      <pc:sldChg chg="add del">
        <pc:chgData name="Doerfler, Lena" userId="aeb0559f-200d-4a58-9e6d-125e1b704bf8" providerId="ADAL" clId="{2F42D7B1-B962-445E-8485-41980C3AF6B0}" dt="2023-03-01T14:15:16.613" v="6929" actId="2696"/>
        <pc:sldMkLst>
          <pc:docMk/>
          <pc:sldMk cId="1042434407" sldId="5414"/>
        </pc:sldMkLst>
      </pc:sldChg>
      <pc:sldChg chg="add del">
        <pc:chgData name="Doerfler, Lena" userId="aeb0559f-200d-4a58-9e6d-125e1b704bf8" providerId="ADAL" clId="{2F42D7B1-B962-445E-8485-41980C3AF6B0}" dt="2023-03-01T14:15:17.082" v="6963" actId="2696"/>
        <pc:sldMkLst>
          <pc:docMk/>
          <pc:sldMk cId="1116790208" sldId="5414"/>
        </pc:sldMkLst>
      </pc:sldChg>
      <pc:sldChg chg="add del">
        <pc:chgData name="Doerfler, Lena" userId="aeb0559f-200d-4a58-9e6d-125e1b704bf8" providerId="ADAL" clId="{2F42D7B1-B962-445E-8485-41980C3AF6B0}" dt="2023-03-01T14:15:17.323" v="6975" actId="2696"/>
        <pc:sldMkLst>
          <pc:docMk/>
          <pc:sldMk cId="1146064416" sldId="5414"/>
        </pc:sldMkLst>
      </pc:sldChg>
      <pc:sldChg chg="add del">
        <pc:chgData name="Doerfler, Lena" userId="aeb0559f-200d-4a58-9e6d-125e1b704bf8" providerId="ADAL" clId="{2F42D7B1-B962-445E-8485-41980C3AF6B0}" dt="2023-03-01T14:15:16.997" v="6957" actId="2696"/>
        <pc:sldMkLst>
          <pc:docMk/>
          <pc:sldMk cId="1447235979" sldId="5414"/>
        </pc:sldMkLst>
      </pc:sldChg>
      <pc:sldChg chg="add del">
        <pc:chgData name="Doerfler, Lena" userId="aeb0559f-200d-4a58-9e6d-125e1b704bf8" providerId="ADAL" clId="{2F42D7B1-B962-445E-8485-41980C3AF6B0}" dt="2023-03-01T14:15:17.121" v="6965" actId="2696"/>
        <pc:sldMkLst>
          <pc:docMk/>
          <pc:sldMk cId="1632715591" sldId="5414"/>
        </pc:sldMkLst>
      </pc:sldChg>
      <pc:sldChg chg="add del">
        <pc:chgData name="Doerfler, Lena" userId="aeb0559f-200d-4a58-9e6d-125e1b704bf8" providerId="ADAL" clId="{2F42D7B1-B962-445E-8485-41980C3AF6B0}" dt="2023-03-01T14:15:16.975" v="6955" actId="2696"/>
        <pc:sldMkLst>
          <pc:docMk/>
          <pc:sldMk cId="1765779618" sldId="5414"/>
        </pc:sldMkLst>
      </pc:sldChg>
      <pc:sldChg chg="add del">
        <pc:chgData name="Doerfler, Lena" userId="aeb0559f-200d-4a58-9e6d-125e1b704bf8" providerId="ADAL" clId="{2F42D7B1-B962-445E-8485-41980C3AF6B0}" dt="2023-03-01T14:15:16.647" v="6931" actId="2696"/>
        <pc:sldMkLst>
          <pc:docMk/>
          <pc:sldMk cId="1920030149" sldId="5414"/>
        </pc:sldMkLst>
      </pc:sldChg>
      <pc:sldChg chg="add del">
        <pc:chgData name="Doerfler, Lena" userId="aeb0559f-200d-4a58-9e6d-125e1b704bf8" providerId="ADAL" clId="{2F42D7B1-B962-445E-8485-41980C3AF6B0}" dt="2023-03-01T14:16:34.255" v="8431" actId="2696"/>
        <pc:sldMkLst>
          <pc:docMk/>
          <pc:sldMk cId="2159638195" sldId="5414"/>
        </pc:sldMkLst>
      </pc:sldChg>
      <pc:sldChg chg="add del">
        <pc:chgData name="Doerfler, Lena" userId="aeb0559f-200d-4a58-9e6d-125e1b704bf8" providerId="ADAL" clId="{2F42D7B1-B962-445E-8485-41980C3AF6B0}" dt="2023-03-01T14:15:16.882" v="6949" actId="2696"/>
        <pc:sldMkLst>
          <pc:docMk/>
          <pc:sldMk cId="2307705770" sldId="5414"/>
        </pc:sldMkLst>
      </pc:sldChg>
      <pc:sldChg chg="add del">
        <pc:chgData name="Doerfler, Lena" userId="aeb0559f-200d-4a58-9e6d-125e1b704bf8" providerId="ADAL" clId="{2F42D7B1-B962-445E-8485-41980C3AF6B0}" dt="2023-03-01T14:15:16.827" v="6945" actId="2696"/>
        <pc:sldMkLst>
          <pc:docMk/>
          <pc:sldMk cId="2341613448" sldId="5414"/>
        </pc:sldMkLst>
      </pc:sldChg>
      <pc:sldChg chg="add del">
        <pc:chgData name="Doerfler, Lena" userId="aeb0559f-200d-4a58-9e6d-125e1b704bf8" providerId="ADAL" clId="{2F42D7B1-B962-445E-8485-41980C3AF6B0}" dt="2023-03-01T14:15:17.242" v="6973" actId="2696"/>
        <pc:sldMkLst>
          <pc:docMk/>
          <pc:sldMk cId="2452141733" sldId="5414"/>
        </pc:sldMkLst>
      </pc:sldChg>
      <pc:sldChg chg="add del">
        <pc:chgData name="Doerfler, Lena" userId="aeb0559f-200d-4a58-9e6d-125e1b704bf8" providerId="ADAL" clId="{2F42D7B1-B962-445E-8485-41980C3AF6B0}" dt="2023-03-01T14:15:17.350" v="6977" actId="2696"/>
        <pc:sldMkLst>
          <pc:docMk/>
          <pc:sldMk cId="2454878316" sldId="5414"/>
        </pc:sldMkLst>
      </pc:sldChg>
      <pc:sldChg chg="add del">
        <pc:chgData name="Doerfler, Lena" userId="aeb0559f-200d-4a58-9e6d-125e1b704bf8" providerId="ADAL" clId="{2F42D7B1-B962-445E-8485-41980C3AF6B0}" dt="2023-03-01T14:15:17.178" v="6969" actId="2696"/>
        <pc:sldMkLst>
          <pc:docMk/>
          <pc:sldMk cId="2760350397" sldId="5414"/>
        </pc:sldMkLst>
      </pc:sldChg>
      <pc:sldChg chg="add del">
        <pc:chgData name="Doerfler, Lena" userId="aeb0559f-200d-4a58-9e6d-125e1b704bf8" providerId="ADAL" clId="{2F42D7B1-B962-445E-8485-41980C3AF6B0}" dt="2023-03-01T14:15:16.723" v="6937" actId="2696"/>
        <pc:sldMkLst>
          <pc:docMk/>
          <pc:sldMk cId="2847504666" sldId="5414"/>
        </pc:sldMkLst>
      </pc:sldChg>
      <pc:sldChg chg="add del">
        <pc:chgData name="Doerfler, Lena" userId="aeb0559f-200d-4a58-9e6d-125e1b704bf8" providerId="ADAL" clId="{2F42D7B1-B962-445E-8485-41980C3AF6B0}" dt="2023-03-01T14:15:16.854" v="6947" actId="2696"/>
        <pc:sldMkLst>
          <pc:docMk/>
          <pc:sldMk cId="3085517724" sldId="5414"/>
        </pc:sldMkLst>
      </pc:sldChg>
      <pc:sldChg chg="add del">
        <pc:chgData name="Doerfler, Lena" userId="aeb0559f-200d-4a58-9e6d-125e1b704bf8" providerId="ADAL" clId="{2F42D7B1-B962-445E-8485-41980C3AF6B0}" dt="2023-03-01T14:15:17.213" v="6971" actId="2696"/>
        <pc:sldMkLst>
          <pc:docMk/>
          <pc:sldMk cId="3245300825" sldId="5414"/>
        </pc:sldMkLst>
      </pc:sldChg>
      <pc:sldChg chg="add del">
        <pc:chgData name="Doerfler, Lena" userId="aeb0559f-200d-4a58-9e6d-125e1b704bf8" providerId="ADAL" clId="{2F42D7B1-B962-445E-8485-41980C3AF6B0}" dt="2023-03-01T14:15:16.668" v="6933" actId="2696"/>
        <pc:sldMkLst>
          <pc:docMk/>
          <pc:sldMk cId="3802665772" sldId="5414"/>
        </pc:sldMkLst>
      </pc:sldChg>
      <pc:sldChg chg="add del">
        <pc:chgData name="Doerfler, Lena" userId="aeb0559f-200d-4a58-9e6d-125e1b704bf8" providerId="ADAL" clId="{2F42D7B1-B962-445E-8485-41980C3AF6B0}" dt="2023-03-01T14:15:16.803" v="6943" actId="2696"/>
        <pc:sldMkLst>
          <pc:docMk/>
          <pc:sldMk cId="3939133649" sldId="5414"/>
        </pc:sldMkLst>
      </pc:sldChg>
      <pc:sldChg chg="add del">
        <pc:chgData name="Doerfler, Lena" userId="aeb0559f-200d-4a58-9e6d-125e1b704bf8" providerId="ADAL" clId="{2F42D7B1-B962-445E-8485-41980C3AF6B0}" dt="2023-03-01T14:15:16.910" v="6951" actId="2696"/>
        <pc:sldMkLst>
          <pc:docMk/>
          <pc:sldMk cId="4054979417" sldId="5414"/>
        </pc:sldMkLst>
      </pc:sldChg>
      <pc:sldChg chg="addSp delSp modSp add mod ord modNotes">
        <pc:chgData name="Doerfler, Lena" userId="aeb0559f-200d-4a58-9e6d-125e1b704bf8" providerId="ADAL" clId="{2F42D7B1-B962-445E-8485-41980C3AF6B0}" dt="2023-03-10T13:02:24.707" v="10368" actId="20577"/>
        <pc:sldMkLst>
          <pc:docMk/>
          <pc:sldMk cId="536329341" sldId="5415"/>
        </pc:sldMkLst>
        <pc:spChg chg="add mod ord">
          <ac:chgData name="Doerfler, Lena" userId="aeb0559f-200d-4a58-9e6d-125e1b704bf8" providerId="ADAL" clId="{2F42D7B1-B962-445E-8485-41980C3AF6B0}" dt="2023-03-10T13:02:14.848" v="10345"/>
          <ac:spMkLst>
            <pc:docMk/>
            <pc:sldMk cId="536329341" sldId="5415"/>
            <ac:spMk id="2" creationId="{3D361505-3531-97BC-2995-496FB56DEC35}"/>
          </ac:spMkLst>
        </pc:spChg>
        <pc:spChg chg="mod ord">
          <ac:chgData name="Doerfler, Lena" userId="aeb0559f-200d-4a58-9e6d-125e1b704bf8" providerId="ADAL" clId="{2F42D7B1-B962-445E-8485-41980C3AF6B0}" dt="2023-03-10T13:02:24.707" v="10368" actId="20577"/>
          <ac:spMkLst>
            <pc:docMk/>
            <pc:sldMk cId="536329341" sldId="5415"/>
            <ac:spMk id="3" creationId="{98DF8654-973C-4858-942C-9E98DE0415C9}"/>
          </ac:spMkLst>
        </pc:spChg>
        <pc:spChg chg="mod ord">
          <ac:chgData name="Doerfler, Lena" userId="aeb0559f-200d-4a58-9e6d-125e1b704bf8" providerId="ADAL" clId="{2F42D7B1-B962-445E-8485-41980C3AF6B0}" dt="2023-03-10T13:02:14.847" v="10341"/>
          <ac:spMkLst>
            <pc:docMk/>
            <pc:sldMk cId="536329341" sldId="5415"/>
            <ac:spMk id="4" creationId="{1BE73BC0-C76D-41AE-8790-1746CD3812D8}"/>
          </ac:spMkLst>
        </pc:spChg>
        <pc:spChg chg="add del mod modVis">
          <ac:chgData name="Doerfler, Lena" userId="aeb0559f-200d-4a58-9e6d-125e1b704bf8" providerId="ADAL" clId="{2F42D7B1-B962-445E-8485-41980C3AF6B0}" dt="2023-03-10T13:01:07.915" v="10336"/>
          <ac:spMkLst>
            <pc:docMk/>
            <pc:sldMk cId="536329341" sldId="5415"/>
            <ac:spMk id="5" creationId="{62F0D08F-331B-FFFF-89C3-D28F5F96B281}"/>
          </ac:spMkLst>
        </pc:spChg>
        <pc:spChg chg="add del mod modVis">
          <ac:chgData name="Doerfler, Lena" userId="aeb0559f-200d-4a58-9e6d-125e1b704bf8" providerId="ADAL" clId="{2F42D7B1-B962-445E-8485-41980C3AF6B0}" dt="2023-03-01T14:16:46.947" v="8487"/>
          <ac:spMkLst>
            <pc:docMk/>
            <pc:sldMk cId="536329341" sldId="5415"/>
            <ac:spMk id="5" creationId="{8C0AAF5E-96DD-3CA8-3D95-A95FE534D771}"/>
          </ac:spMkLst>
        </pc:spChg>
        <pc:spChg chg="add del mod modVis">
          <ac:chgData name="Doerfler, Lena" userId="aeb0559f-200d-4a58-9e6d-125e1b704bf8" providerId="ADAL" clId="{2F42D7B1-B962-445E-8485-41980C3AF6B0}" dt="2023-03-01T14:16:48.041" v="8532"/>
          <ac:spMkLst>
            <pc:docMk/>
            <pc:sldMk cId="536329341" sldId="5415"/>
            <ac:spMk id="7" creationId="{5DCE8837-7B6C-9CC4-7D90-C2C45D29B377}"/>
          </ac:spMkLst>
        </pc:spChg>
        <pc:spChg chg="add del mod">
          <ac:chgData name="Doerfler, Lena" userId="aeb0559f-200d-4a58-9e6d-125e1b704bf8" providerId="ADAL" clId="{2F42D7B1-B962-445E-8485-41980C3AF6B0}" dt="2023-03-01T14:17:29.515" v="8538"/>
          <ac:spMkLst>
            <pc:docMk/>
            <pc:sldMk cId="536329341" sldId="5415"/>
            <ac:spMk id="12" creationId="{0B4C486D-C2E0-FA3B-0B7A-FF247DBBA1E8}"/>
          </ac:spMkLst>
        </pc:spChg>
        <pc:spChg chg="add del mod modVis">
          <ac:chgData name="Doerfler, Lena" userId="aeb0559f-200d-4a58-9e6d-125e1b704bf8" providerId="ADAL" clId="{2F42D7B1-B962-445E-8485-41980C3AF6B0}" dt="2023-03-01T14:18:43.924" v="8588"/>
          <ac:spMkLst>
            <pc:docMk/>
            <pc:sldMk cId="536329341" sldId="5415"/>
            <ac:spMk id="15" creationId="{2AD80EA8-88AA-5FA9-C5DD-DD8666C14859}"/>
          </ac:spMkLst>
        </pc:spChg>
        <pc:spChg chg="add del mod modVis">
          <ac:chgData name="Doerfler, Lena" userId="aeb0559f-200d-4a58-9e6d-125e1b704bf8" providerId="ADAL" clId="{2F42D7B1-B962-445E-8485-41980C3AF6B0}" dt="2023-03-01T14:18:54.813" v="9573"/>
          <ac:spMkLst>
            <pc:docMk/>
            <pc:sldMk cId="536329341" sldId="5415"/>
            <ac:spMk id="16" creationId="{0478B93D-ECA7-043B-0B66-2F8491DCBE92}"/>
          </ac:spMkLst>
        </pc:spChg>
        <pc:graphicFrameChg chg="mod">
          <ac:chgData name="Doerfler, Lena" userId="aeb0559f-200d-4a58-9e6d-125e1b704bf8" providerId="ADAL" clId="{2F42D7B1-B962-445E-8485-41980C3AF6B0}" dt="2023-03-10T13:02:14.851" v="10351"/>
          <ac:graphicFrameMkLst>
            <pc:docMk/>
            <pc:sldMk cId="536329341" sldId="5415"/>
            <ac:graphicFrameMk id="6" creationId="{CB337494-50C0-0067-26D1-43F4E9BF1A77}"/>
          </ac:graphicFrameMkLst>
        </pc:graphicFrameChg>
        <pc:picChg chg="del">
          <ac:chgData name="Doerfler, Lena" userId="aeb0559f-200d-4a58-9e6d-125e1b704bf8" providerId="ADAL" clId="{2F42D7B1-B962-445E-8485-41980C3AF6B0}" dt="2023-03-01T14:17:27.913" v="8537" actId="478"/>
          <ac:picMkLst>
            <pc:docMk/>
            <pc:sldMk cId="536329341" sldId="5415"/>
            <ac:picMk id="8" creationId="{098B3837-EB6C-0EE1-DD7F-8AF27BE0C61B}"/>
          </ac:picMkLst>
        </pc:picChg>
        <pc:picChg chg="add del mod">
          <ac:chgData name="Doerfler, Lena" userId="aeb0559f-200d-4a58-9e6d-125e1b704bf8" providerId="ADAL" clId="{2F42D7B1-B962-445E-8485-41980C3AF6B0}" dt="2023-03-01T14:17:27.287" v="8536" actId="478"/>
          <ac:picMkLst>
            <pc:docMk/>
            <pc:sldMk cId="536329341" sldId="5415"/>
            <ac:picMk id="10" creationId="{16E63C2E-1A02-48AC-8EA1-9FBF64A8E05B}"/>
          </ac:picMkLst>
        </pc:picChg>
        <pc:picChg chg="add mod ord">
          <ac:chgData name="Doerfler, Lena" userId="aeb0559f-200d-4a58-9e6d-125e1b704bf8" providerId="ADAL" clId="{2F42D7B1-B962-445E-8485-41980C3AF6B0}" dt="2023-03-10T13:02:14.849" v="10347"/>
          <ac:picMkLst>
            <pc:docMk/>
            <pc:sldMk cId="536329341" sldId="5415"/>
            <ac:picMk id="14" creationId="{9D2F8C38-0400-F6F8-7F8B-0AC698B98280}"/>
          </ac:picMkLst>
        </pc:picChg>
      </pc:sldChg>
      <pc:sldChg chg="addSp delSp modSp add mod ord modNotes">
        <pc:chgData name="Doerfler, Lena" userId="aeb0559f-200d-4a58-9e6d-125e1b704bf8" providerId="ADAL" clId="{2F42D7B1-B962-445E-8485-41980C3AF6B0}" dt="2023-04-05T13:26:23.062" v="11256" actId="1076"/>
        <pc:sldMkLst>
          <pc:docMk/>
          <pc:sldMk cId="163439490" sldId="5416"/>
        </pc:sldMkLst>
        <pc:spChg chg="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2" creationId="{C301E51E-4BBF-B741-293A-481D445001BF}"/>
          </ac:spMkLst>
        </pc:spChg>
        <pc:spChg chg="add 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3" creationId="{DF743552-CFAB-8AEF-4C81-E1F4E570219C}"/>
          </ac:spMkLst>
        </pc:spChg>
        <pc:spChg chg="mod">
          <ac:chgData name="Doerfler, Lena" userId="aeb0559f-200d-4a58-9e6d-125e1b704bf8" providerId="ADAL" clId="{2F42D7B1-B962-445E-8485-41980C3AF6B0}" dt="2023-03-01T14:18:53.386" v="8613" actId="790"/>
          <ac:spMkLst>
            <pc:docMk/>
            <pc:sldMk cId="163439490" sldId="5416"/>
            <ac:spMk id="4" creationId="{29B50D9E-F1FA-7729-F889-41DE3750D88C}"/>
          </ac:spMkLst>
        </pc:spChg>
        <pc:spChg chg="add del mod">
          <ac:chgData name="Doerfler, Lena" userId="aeb0559f-200d-4a58-9e6d-125e1b704bf8" providerId="ADAL" clId="{2F42D7B1-B962-445E-8485-41980C3AF6B0}" dt="2023-03-01T14:18:54.057" v="9090"/>
          <ac:spMkLst>
            <pc:docMk/>
            <pc:sldMk cId="163439490" sldId="5416"/>
            <ac:spMk id="5" creationId="{D7FBD542-AD01-FEFD-B43B-A355F2108EC2}"/>
          </ac:spMkLst>
        </pc:spChg>
        <pc:spChg chg="add 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6" creationId="{256B950F-6F62-E1B0-AC3B-FFEBF53E9C03}"/>
          </ac:spMkLst>
        </pc:spChg>
        <pc:spChg chg="add 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7" creationId="{1455C1FA-1DD5-F0FA-B953-C5937B5F69A8}"/>
          </ac:spMkLst>
        </pc:spChg>
        <pc:spChg chg="add del mod modVis">
          <ac:chgData name="Doerfler, Lena" userId="aeb0559f-200d-4a58-9e6d-125e1b704bf8" providerId="ADAL" clId="{2F42D7B1-B962-445E-8485-41980C3AF6B0}" dt="2023-03-01T14:18:54.816" v="9577"/>
          <ac:spMkLst>
            <pc:docMk/>
            <pc:sldMk cId="163439490" sldId="5416"/>
            <ac:spMk id="8" creationId="{3C0E83D5-82EA-332A-A5AE-04DE3CE441F5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8" creationId="{513F9959-C0E6-E94D-727F-E20C2716FDC9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0" creationId="{CD8A7E4E-765C-BE33-88C8-37341F63B3B9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1" creationId="{671037FD-14E5-2C72-700F-96EED473100D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2" creationId="{E4921D6D-AA71-83D3-C67D-5D20D2677ADD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3" creationId="{A536FF30-759F-D8B0-7297-81E41A4EE09F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4" creationId="{6B77613D-710E-7979-177B-71E16E2E9761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5" creationId="{5046FA5C-F0FC-2E8F-1142-47D6A2E6EF14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6" creationId="{09DD40FB-429F-ACB2-B508-6A84839817C0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7" creationId="{D53F5376-EE62-D126-D9C2-60C929E488B9}"/>
          </ac:spMkLst>
        </pc:spChg>
        <pc:spChg chg="mod">
          <ac:chgData name="Doerfler, Lena" userId="aeb0559f-200d-4a58-9e6d-125e1b704bf8" providerId="ADAL" clId="{2F42D7B1-B962-445E-8485-41980C3AF6B0}" dt="2023-04-05T13:19:31.113" v="11247"/>
          <ac:spMkLst>
            <pc:docMk/>
            <pc:sldMk cId="163439490" sldId="5416"/>
            <ac:spMk id="18" creationId="{3B835EE8-3534-4382-55D8-F712387B2119}"/>
          </ac:spMkLst>
        </pc:spChg>
        <pc:spChg chg="add del 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20" creationId="{24179F11-4D26-C022-0ACF-03FD4419836E}"/>
          </ac:spMkLst>
        </pc:spChg>
        <pc:spChg chg="add del 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21" creationId="{8A018012-F3A8-40B6-E958-E73620BFEBB3}"/>
          </ac:spMkLst>
        </pc:spChg>
        <pc:spChg chg="add del 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22" creationId="{C3D44F7C-C7CE-CCDC-A4FA-F0E4B71BB4E9}"/>
          </ac:spMkLst>
        </pc:spChg>
        <pc:spChg chg="add del 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23" creationId="{5CCC98E2-4B00-EB1A-C434-0C52D7419886}"/>
          </ac:spMkLst>
        </pc:spChg>
        <pc:spChg chg="add del mod">
          <ac:chgData name="Doerfler, Lena" userId="aeb0559f-200d-4a58-9e6d-125e1b704bf8" providerId="ADAL" clId="{2F42D7B1-B962-445E-8485-41980C3AF6B0}" dt="2023-04-05T13:25:58.773" v="11250"/>
          <ac:spMkLst>
            <pc:docMk/>
            <pc:sldMk cId="163439490" sldId="5416"/>
            <ac:spMk id="24" creationId="{ACC03AAF-B441-C1CB-E39D-08A64DD78E4D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26" creationId="{AA7DB08A-A15B-7CBB-B6E2-202B2589F064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27" creationId="{5A1E91B1-B4C8-82D4-0E8D-BFE0AE250BC5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28" creationId="{0F11245B-766A-A4E6-C2B8-43CFA6F4017A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29" creationId="{329C2493-A1EE-FF2B-0D04-FCD6F98516AE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30" creationId="{434B884D-28FD-3D75-BFF0-385E1F9D8107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31" creationId="{6794F5E3-5D93-99CC-8F58-5B48F3715AD4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32" creationId="{3C8B5EE8-21F6-7ECB-17DD-C025915556F5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33" creationId="{98B1A398-D874-7997-2ECA-8F1F3E4F4E80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34" creationId="{8E63C025-0E9E-11DD-188C-39113EE14BAB}"/>
          </ac:spMkLst>
        </pc:spChg>
        <pc:spChg chg="mod">
          <ac:chgData name="Doerfler, Lena" userId="aeb0559f-200d-4a58-9e6d-125e1b704bf8" providerId="ADAL" clId="{2F42D7B1-B962-445E-8485-41980C3AF6B0}" dt="2023-04-05T13:26:02.184" v="11251"/>
          <ac:spMkLst>
            <pc:docMk/>
            <pc:sldMk cId="163439490" sldId="5416"/>
            <ac:spMk id="35" creationId="{C74B17AE-76D2-AD68-19F9-9740E90A46E4}"/>
          </ac:spMkLst>
        </pc:spChg>
        <pc:grpChg chg="add del mod">
          <ac:chgData name="Doerfler, Lena" userId="aeb0559f-200d-4a58-9e6d-125e1b704bf8" providerId="ADAL" clId="{2F42D7B1-B962-445E-8485-41980C3AF6B0}" dt="2023-04-05T13:26:15.211" v="11255" actId="478"/>
          <ac:grpSpMkLst>
            <pc:docMk/>
            <pc:sldMk cId="163439490" sldId="5416"/>
            <ac:grpSpMk id="5" creationId="{16610ADB-2464-66BD-A40F-670FC362E74E}"/>
          </ac:grpSpMkLst>
        </pc:grpChg>
        <pc:grpChg chg="add del mod">
          <ac:chgData name="Doerfler, Lena" userId="aeb0559f-200d-4a58-9e6d-125e1b704bf8" providerId="ADAL" clId="{2F42D7B1-B962-445E-8485-41980C3AF6B0}" dt="2023-04-05T13:26:04.848" v="11252"/>
          <ac:grpSpMkLst>
            <pc:docMk/>
            <pc:sldMk cId="163439490" sldId="5416"/>
            <ac:grpSpMk id="25" creationId="{A4E86897-576A-05B4-AFD6-1D10EDC2BF0F}"/>
          </ac:grpSpMkLst>
        </pc:grpChg>
        <pc:graphicFrameChg chg="mod">
          <ac:chgData name="Doerfler, Lena" userId="aeb0559f-200d-4a58-9e6d-125e1b704bf8" providerId="ADAL" clId="{2F42D7B1-B962-445E-8485-41980C3AF6B0}" dt="2023-03-01T14:18:54.818" v="9579"/>
          <ac:graphicFrameMkLst>
            <pc:docMk/>
            <pc:sldMk cId="163439490" sldId="5416"/>
            <ac:graphicFrameMk id="9" creationId="{8225364F-9812-5FB7-40F3-1BEE4C1FAEBB}"/>
          </ac:graphicFrameMkLst>
        </pc:graphicFrameChg>
        <pc:picChg chg="del mod">
          <ac:chgData name="Doerfler, Lena" userId="aeb0559f-200d-4a58-9e6d-125e1b704bf8" providerId="ADAL" clId="{2F42D7B1-B962-445E-8485-41980C3AF6B0}" dt="2023-04-05T13:19:44.964" v="11248" actId="478"/>
          <ac:picMkLst>
            <pc:docMk/>
            <pc:sldMk cId="163439490" sldId="5416"/>
            <ac:picMk id="19" creationId="{1ADAFA54-1BD3-9F7E-5F82-8F81A3954ECE}"/>
          </ac:picMkLst>
        </pc:picChg>
        <pc:picChg chg="add mod">
          <ac:chgData name="Doerfler, Lena" userId="aeb0559f-200d-4a58-9e6d-125e1b704bf8" providerId="ADAL" clId="{2F42D7B1-B962-445E-8485-41980C3AF6B0}" dt="2023-04-05T13:26:23.062" v="11256" actId="1076"/>
          <ac:picMkLst>
            <pc:docMk/>
            <pc:sldMk cId="163439490" sldId="5416"/>
            <ac:picMk id="36" creationId="{722822A2-8F47-DF22-F4A4-D78C12843F71}"/>
          </ac:picMkLst>
        </pc:picChg>
      </pc:sldChg>
      <pc:sldChg chg="addSp delSp modSp add del mod ord modNotes">
        <pc:chgData name="Doerfler, Lena" userId="aeb0559f-200d-4a58-9e6d-125e1b704bf8" providerId="ADAL" clId="{2F42D7B1-B962-445E-8485-41980C3AF6B0}" dt="2023-04-14T13:50:17.771" v="13603" actId="47"/>
        <pc:sldMkLst>
          <pc:docMk/>
          <pc:sldMk cId="2090461998" sldId="5417"/>
        </pc:sldMkLst>
        <pc:spChg chg="mod">
          <ac:chgData name="Doerfler, Lena" userId="aeb0559f-200d-4a58-9e6d-125e1b704bf8" providerId="ADAL" clId="{2F42D7B1-B962-445E-8485-41980C3AF6B0}" dt="2023-03-01T14:18:54.389" v="9228" actId="948"/>
          <ac:spMkLst>
            <pc:docMk/>
            <pc:sldMk cId="2090461998" sldId="5417"/>
            <ac:spMk id="2" creationId="{EFC0B6BA-7CEF-7DB5-D6AE-9ADE4BD19333}"/>
          </ac:spMkLst>
        </pc:spChg>
        <pc:spChg chg="add mod">
          <ac:chgData name="Doerfler, Lena" userId="aeb0559f-200d-4a58-9e6d-125e1b704bf8" providerId="ADAL" clId="{2F42D7B1-B962-445E-8485-41980C3AF6B0}" dt="2023-03-01T14:18:53.416" v="8632" actId="790"/>
          <ac:spMkLst>
            <pc:docMk/>
            <pc:sldMk cId="2090461998" sldId="5417"/>
            <ac:spMk id="5" creationId="{AF0422BE-E8D7-FFFA-3ECA-D82F39B8A6C5}"/>
          </ac:spMkLst>
        </pc:spChg>
        <pc:spChg chg="add del mod">
          <ac:chgData name="Doerfler, Lena" userId="aeb0559f-200d-4a58-9e6d-125e1b704bf8" providerId="ADAL" clId="{2F42D7B1-B962-445E-8485-41980C3AF6B0}" dt="2023-03-01T14:18:54.064" v="9095"/>
          <ac:spMkLst>
            <pc:docMk/>
            <pc:sldMk cId="2090461998" sldId="5417"/>
            <ac:spMk id="6" creationId="{D4FDE4CA-C9A2-B65D-68CA-AF5F6B4B1739}"/>
          </ac:spMkLst>
        </pc:spChg>
        <pc:spChg chg="mod">
          <ac:chgData name="Doerfler, Lena" userId="aeb0559f-200d-4a58-9e6d-125e1b704bf8" providerId="ADAL" clId="{2F42D7B1-B962-445E-8485-41980C3AF6B0}" dt="2023-03-01T14:18:53.415" v="8631" actId="790"/>
          <ac:spMkLst>
            <pc:docMk/>
            <pc:sldMk cId="2090461998" sldId="5417"/>
            <ac:spMk id="7" creationId="{C7AF5215-7B35-36D4-2665-66D5C9AE52DC}"/>
          </ac:spMkLst>
        </pc:spChg>
        <pc:spChg chg="add mod">
          <ac:chgData name="Doerfler, Lena" userId="aeb0559f-200d-4a58-9e6d-125e1b704bf8" providerId="ADAL" clId="{2F42D7B1-B962-445E-8485-41980C3AF6B0}" dt="2023-03-01T14:18:53.418" v="8634" actId="790"/>
          <ac:spMkLst>
            <pc:docMk/>
            <pc:sldMk cId="2090461998" sldId="5417"/>
            <ac:spMk id="9" creationId="{D2EEA9C0-30F0-40DB-A877-3BDBFA03DEE6}"/>
          </ac:spMkLst>
        </pc:spChg>
        <pc:spChg chg="add mod">
          <ac:chgData name="Doerfler, Lena" userId="aeb0559f-200d-4a58-9e6d-125e1b704bf8" providerId="ADAL" clId="{2F42D7B1-B962-445E-8485-41980C3AF6B0}" dt="2023-03-01T14:18:54.065" v="9096"/>
          <ac:spMkLst>
            <pc:docMk/>
            <pc:sldMk cId="2090461998" sldId="5417"/>
            <ac:spMk id="11" creationId="{D0B93BCE-49CF-2187-08D9-E1759A18664A}"/>
          </ac:spMkLst>
        </pc:spChg>
        <pc:spChg chg="add del mod modVis">
          <ac:chgData name="Doerfler, Lena" userId="aeb0559f-200d-4a58-9e6d-125e1b704bf8" providerId="ADAL" clId="{2F42D7B1-B962-445E-8485-41980C3AF6B0}" dt="2023-03-01T14:18:54.819" v="9581"/>
          <ac:spMkLst>
            <pc:docMk/>
            <pc:sldMk cId="2090461998" sldId="5417"/>
            <ac:spMk id="13" creationId="{28C3A048-C12E-8545-BE87-594530BC0343}"/>
          </ac:spMkLst>
        </pc:spChg>
        <pc:spChg chg="add mod ord">
          <ac:chgData name="Doerfler, Lena" userId="aeb0559f-200d-4a58-9e6d-125e1b704bf8" providerId="ADAL" clId="{2F42D7B1-B962-445E-8485-41980C3AF6B0}" dt="2023-04-13T14:42:20.362" v="12565"/>
          <ac:spMkLst>
            <pc:docMk/>
            <pc:sldMk cId="2090461998" sldId="5417"/>
            <ac:spMk id="13" creationId="{C311D829-B651-90AA-97AD-90AC8FB29177}"/>
          </ac:spMkLst>
        </pc:spChg>
        <pc:spChg chg="mod">
          <ac:chgData name="Doerfler, Lena" userId="aeb0559f-200d-4a58-9e6d-125e1b704bf8" providerId="ADAL" clId="{2F42D7B1-B962-445E-8485-41980C3AF6B0}" dt="2023-03-01T14:18:53.408" v="8624" actId="790"/>
          <ac:spMkLst>
            <pc:docMk/>
            <pc:sldMk cId="2090461998" sldId="5417"/>
            <ac:spMk id="25" creationId="{D9AC783E-1C98-7EF8-BE45-93C1579678A7}"/>
          </ac:spMkLst>
        </pc:spChg>
        <pc:spChg chg="mod ord">
          <ac:chgData name="Doerfler, Lena" userId="aeb0559f-200d-4a58-9e6d-125e1b704bf8" providerId="ADAL" clId="{2F42D7B1-B962-445E-8485-41980C3AF6B0}" dt="2023-04-13T14:42:52.379" v="12707"/>
          <ac:spMkLst>
            <pc:docMk/>
            <pc:sldMk cId="2090461998" sldId="5417"/>
            <ac:spMk id="26" creationId="{B37920D7-717E-62F7-7611-43029A9D9155}"/>
          </ac:spMkLst>
        </pc:spChg>
        <pc:spChg chg="mod">
          <ac:chgData name="Doerfler, Lena" userId="aeb0559f-200d-4a58-9e6d-125e1b704bf8" providerId="ADAL" clId="{2F42D7B1-B962-445E-8485-41980C3AF6B0}" dt="2023-03-01T14:18:53.410" v="8626" actId="790"/>
          <ac:spMkLst>
            <pc:docMk/>
            <pc:sldMk cId="2090461998" sldId="5417"/>
            <ac:spMk id="27" creationId="{F0627BA2-D181-1DB0-A3A7-952DCABAF484}"/>
          </ac:spMkLst>
        </pc:spChg>
        <pc:spChg chg="mod ord">
          <ac:chgData name="Doerfler, Lena" userId="aeb0559f-200d-4a58-9e6d-125e1b704bf8" providerId="ADAL" clId="{2F42D7B1-B962-445E-8485-41980C3AF6B0}" dt="2023-04-13T14:42:52.373" v="12705"/>
          <ac:spMkLst>
            <pc:docMk/>
            <pc:sldMk cId="2090461998" sldId="5417"/>
            <ac:spMk id="28" creationId="{23F4F0E2-D7ED-A7A3-9020-BFD14ED51C9D}"/>
          </ac:spMkLst>
        </pc:spChg>
        <pc:spChg chg="mod ord">
          <ac:chgData name="Doerfler, Lena" userId="aeb0559f-200d-4a58-9e6d-125e1b704bf8" providerId="ADAL" clId="{2F42D7B1-B962-445E-8485-41980C3AF6B0}" dt="2023-04-13T14:42:20.356" v="12553"/>
          <ac:spMkLst>
            <pc:docMk/>
            <pc:sldMk cId="2090461998" sldId="5417"/>
            <ac:spMk id="29" creationId="{391B87CD-E456-A118-D4D5-DE620BC5BB69}"/>
          </ac:spMkLst>
        </pc:spChg>
        <pc:spChg chg="mod">
          <ac:chgData name="Doerfler, Lena" userId="aeb0559f-200d-4a58-9e6d-125e1b704bf8" providerId="ADAL" clId="{2F42D7B1-B962-445E-8485-41980C3AF6B0}" dt="2023-04-13T14:42:10.329" v="12523"/>
          <ac:spMkLst>
            <pc:docMk/>
            <pc:sldMk cId="2090461998" sldId="5417"/>
            <ac:spMk id="30" creationId="{3C916F8E-42C3-A477-C143-00362086495D}"/>
          </ac:spMkLst>
        </pc:spChg>
        <pc:spChg chg="mod">
          <ac:chgData name="Doerfler, Lena" userId="aeb0559f-200d-4a58-9e6d-125e1b704bf8" providerId="ADAL" clId="{2F42D7B1-B962-445E-8485-41980C3AF6B0}" dt="2023-03-01T14:18:53.414" v="8630" actId="790"/>
          <ac:spMkLst>
            <pc:docMk/>
            <pc:sldMk cId="2090461998" sldId="5417"/>
            <ac:spMk id="31" creationId="{09A6E064-A35C-BF7E-096A-0C6C7ACFE614}"/>
          </ac:spMkLst>
        </pc:spChg>
        <pc:spChg chg="mod">
          <ac:chgData name="Doerfler, Lena" userId="aeb0559f-200d-4a58-9e6d-125e1b704bf8" providerId="ADAL" clId="{2F42D7B1-B962-445E-8485-41980C3AF6B0}" dt="2023-03-01T14:18:53.407" v="8623" actId="790"/>
          <ac:spMkLst>
            <pc:docMk/>
            <pc:sldMk cId="2090461998" sldId="5417"/>
            <ac:spMk id="34" creationId="{8F71E45D-906E-2648-ACEE-BCB58EC48553}"/>
          </ac:spMkLst>
        </pc:spChg>
        <pc:graphicFrameChg chg="mod">
          <ac:chgData name="Doerfler, Lena" userId="aeb0559f-200d-4a58-9e6d-125e1b704bf8" providerId="ADAL" clId="{2F42D7B1-B962-445E-8485-41980C3AF6B0}" dt="2023-03-01T14:18:54.822" v="9583"/>
          <ac:graphicFrameMkLst>
            <pc:docMk/>
            <pc:sldMk cId="2090461998" sldId="5417"/>
            <ac:graphicFrameMk id="8" creationId="{62999167-B36C-52B5-0715-9EE11BC6F7CA}"/>
          </ac:graphicFrameMkLst>
        </pc:graphicFrameChg>
        <pc:picChg chg="mod ord">
          <ac:chgData name="Doerfler, Lena" userId="aeb0559f-200d-4a58-9e6d-125e1b704bf8" providerId="ADAL" clId="{2F42D7B1-B962-445E-8485-41980C3AF6B0}" dt="2023-04-13T14:42:15.854" v="12533"/>
          <ac:picMkLst>
            <pc:docMk/>
            <pc:sldMk cId="2090461998" sldId="5417"/>
            <ac:picMk id="3" creationId="{8E4BF4D8-E3A0-18F6-D278-6F5E7782175E}"/>
          </ac:picMkLst>
        </pc:picChg>
        <pc:picChg chg="del mod ord">
          <ac:chgData name="Doerfler, Lena" userId="aeb0559f-200d-4a58-9e6d-125e1b704bf8" providerId="ADAL" clId="{2F42D7B1-B962-445E-8485-41980C3AF6B0}" dt="2023-04-06T13:46:06.747" v="11868" actId="478"/>
          <ac:picMkLst>
            <pc:docMk/>
            <pc:sldMk cId="2090461998" sldId="5417"/>
            <ac:picMk id="4" creationId="{E59D6BA2-C5C4-00F7-76AD-CB5B0B4BA3FC}"/>
          </ac:picMkLst>
        </pc:picChg>
        <pc:picChg chg="add del mod ord">
          <ac:chgData name="Doerfler, Lena" userId="aeb0559f-200d-4a58-9e6d-125e1b704bf8" providerId="ADAL" clId="{2F42D7B1-B962-445E-8485-41980C3AF6B0}" dt="2023-03-13T12:55:11.266" v="11147" actId="478"/>
          <ac:picMkLst>
            <pc:docMk/>
            <pc:sldMk cId="2090461998" sldId="5417"/>
            <ac:picMk id="6" creationId="{7044AF54-AC32-5110-020C-CA8C77A9F3E4}"/>
          </ac:picMkLst>
        </pc:picChg>
        <pc:picChg chg="mod">
          <ac:chgData name="Doerfler, Lena" userId="aeb0559f-200d-4a58-9e6d-125e1b704bf8" providerId="ADAL" clId="{2F42D7B1-B962-445E-8485-41980C3AF6B0}" dt="2023-03-10T13:04:19.163" v="10529" actId="1076"/>
          <ac:picMkLst>
            <pc:docMk/>
            <pc:sldMk cId="2090461998" sldId="5417"/>
            <ac:picMk id="10" creationId="{EE6A415A-8208-D80F-3D4B-F397CB170886}"/>
          </ac:picMkLst>
        </pc:picChg>
        <pc:picChg chg="mod ord">
          <ac:chgData name="Doerfler, Lena" userId="aeb0559f-200d-4a58-9e6d-125e1b704bf8" providerId="ADAL" clId="{2F42D7B1-B962-445E-8485-41980C3AF6B0}" dt="2023-04-13T14:42:47.234" v="12697"/>
          <ac:picMkLst>
            <pc:docMk/>
            <pc:sldMk cId="2090461998" sldId="5417"/>
            <ac:picMk id="12" creationId="{5CD3E042-AD39-A2A6-CB5A-C9F8F15BDB6C}"/>
          </ac:picMkLst>
        </pc:picChg>
        <pc:picChg chg="add mod ord">
          <ac:chgData name="Doerfler, Lena" userId="aeb0559f-200d-4a58-9e6d-125e1b704bf8" providerId="ADAL" clId="{2F42D7B1-B962-445E-8485-41980C3AF6B0}" dt="2023-04-13T14:42:23.329" v="12635"/>
          <ac:picMkLst>
            <pc:docMk/>
            <pc:sldMk cId="2090461998" sldId="5417"/>
            <ac:picMk id="14" creationId="{E8132DB4-A14E-1130-258C-F981A9CD2364}"/>
          </ac:picMkLst>
        </pc:picChg>
        <pc:picChg chg="add del mod ord">
          <ac:chgData name="Doerfler, Lena" userId="aeb0559f-200d-4a58-9e6d-125e1b704bf8" providerId="ADAL" clId="{2F42D7B1-B962-445E-8485-41980C3AF6B0}" dt="2023-04-05T13:11:55.546" v="11182" actId="478"/>
          <ac:picMkLst>
            <pc:docMk/>
            <pc:sldMk cId="2090461998" sldId="5417"/>
            <ac:picMk id="15" creationId="{97555E4E-7F05-D3F5-CE9E-C10F461E900F}"/>
          </ac:picMkLst>
        </pc:picChg>
        <pc:picChg chg="add mod ord">
          <ac:chgData name="Doerfler, Lena" userId="aeb0559f-200d-4a58-9e6d-125e1b704bf8" providerId="ADAL" clId="{2F42D7B1-B962-445E-8485-41980C3AF6B0}" dt="2023-04-06T13:46:04.010" v="11867"/>
          <ac:picMkLst>
            <pc:docMk/>
            <pc:sldMk cId="2090461998" sldId="5417"/>
            <ac:picMk id="15" creationId="{EBCB9890-DA86-3425-D2CE-BDDE1B647095}"/>
          </ac:picMkLst>
        </pc:picChg>
        <pc:picChg chg="mod ord">
          <ac:chgData name="Doerfler, Lena" userId="aeb0559f-200d-4a58-9e6d-125e1b704bf8" providerId="ADAL" clId="{2F42D7B1-B962-445E-8485-41980C3AF6B0}" dt="2023-04-13T14:42:47.194" v="12689"/>
          <ac:picMkLst>
            <pc:docMk/>
            <pc:sldMk cId="2090461998" sldId="5417"/>
            <ac:picMk id="21" creationId="{BCC44B32-F903-A940-05A6-1C2058DEB2F6}"/>
          </ac:picMkLst>
        </pc:picChg>
        <pc:picChg chg="mod ord">
          <ac:chgData name="Doerfler, Lena" userId="aeb0559f-200d-4a58-9e6d-125e1b704bf8" providerId="ADAL" clId="{2F42D7B1-B962-445E-8485-41980C3AF6B0}" dt="2023-04-13T14:42:23.322" v="12605"/>
          <ac:picMkLst>
            <pc:docMk/>
            <pc:sldMk cId="2090461998" sldId="5417"/>
            <ac:picMk id="22" creationId="{19E9F7D5-81D2-C20E-AD0B-D85EF400442A}"/>
          </ac:picMkLst>
        </pc:picChg>
        <pc:picChg chg="mod">
          <ac:chgData name="Doerfler, Lena" userId="aeb0559f-200d-4a58-9e6d-125e1b704bf8" providerId="ADAL" clId="{2F42D7B1-B962-445E-8485-41980C3AF6B0}" dt="2023-03-10T13:05:02.417" v="10537" actId="1076"/>
          <ac:picMkLst>
            <pc:docMk/>
            <pc:sldMk cId="2090461998" sldId="5417"/>
            <ac:picMk id="1026" creationId="{65933F98-9726-C0F8-26FD-6BF8967ACEE0}"/>
          </ac:picMkLst>
        </pc:picChg>
      </pc:sldChg>
      <pc:sldChg chg="addSp delSp modSp add mod ord delAnim modAnim modNotes">
        <pc:chgData name="Doerfler, Lena" userId="aeb0559f-200d-4a58-9e6d-125e1b704bf8" providerId="ADAL" clId="{2F42D7B1-B962-445E-8485-41980C3AF6B0}" dt="2023-04-05T14:57:30.394" v="11431"/>
        <pc:sldMkLst>
          <pc:docMk/>
          <pc:sldMk cId="4171012546" sldId="5418"/>
        </pc:sldMkLst>
        <pc:spChg chg="add mod">
          <ac:chgData name="Doerfler, Lena" userId="aeb0559f-200d-4a58-9e6d-125e1b704bf8" providerId="ADAL" clId="{2F42D7B1-B962-445E-8485-41980C3AF6B0}" dt="2023-04-05T14:57:03.008" v="11426" actId="1076"/>
          <ac:spMkLst>
            <pc:docMk/>
            <pc:sldMk cId="4171012546" sldId="5418"/>
            <ac:spMk id="2" creationId="{3C45CFDA-7DCD-837D-CE08-C1BA82F104AB}"/>
          </ac:spMkLst>
        </pc:spChg>
        <pc:spChg chg="add mod">
          <ac:chgData name="Doerfler, Lena" userId="aeb0559f-200d-4a58-9e6d-125e1b704bf8" providerId="ADAL" clId="{2F42D7B1-B962-445E-8485-41980C3AF6B0}" dt="2023-04-05T13:12:27.392" v="11184"/>
          <ac:spMkLst>
            <pc:docMk/>
            <pc:sldMk cId="4171012546" sldId="5418"/>
            <ac:spMk id="3" creationId="{275AED1F-14DF-0018-6927-D1AB17BA6F56}"/>
          </ac:spMkLst>
        </pc:spChg>
        <pc:spChg chg="add del mod">
          <ac:chgData name="Doerfler, Lena" userId="aeb0559f-200d-4a58-9e6d-125e1b704bf8" providerId="ADAL" clId="{2F42D7B1-B962-445E-8485-41980C3AF6B0}" dt="2023-03-01T14:18:54.071" v="9100"/>
          <ac:spMkLst>
            <pc:docMk/>
            <pc:sldMk cId="4171012546" sldId="5418"/>
            <ac:spMk id="3" creationId="{EBA2EFB1-BE21-BB53-6044-32F1A8C4C820}"/>
          </ac:spMkLst>
        </pc:spChg>
        <pc:spChg chg="add mod">
          <ac:chgData name="Doerfler, Lena" userId="aeb0559f-200d-4a58-9e6d-125e1b704bf8" providerId="ADAL" clId="{2F42D7B1-B962-445E-8485-41980C3AF6B0}" dt="2023-03-01T14:18:53.442" v="8653" actId="790"/>
          <ac:spMkLst>
            <pc:docMk/>
            <pc:sldMk cId="4171012546" sldId="5418"/>
            <ac:spMk id="4" creationId="{A5C62144-AFA4-A657-4DE4-36FF850211E4}"/>
          </ac:spMkLst>
        </pc:spChg>
        <pc:spChg chg="add mod">
          <ac:chgData name="Doerfler, Lena" userId="aeb0559f-200d-4a58-9e6d-125e1b704bf8" providerId="ADAL" clId="{2F42D7B1-B962-445E-8485-41980C3AF6B0}" dt="2023-03-01T14:18:54.072" v="9101"/>
          <ac:spMkLst>
            <pc:docMk/>
            <pc:sldMk cId="4171012546" sldId="5418"/>
            <ac:spMk id="5" creationId="{3F07CFD1-C34F-3AAC-3477-7737908C4C79}"/>
          </ac:spMkLst>
        </pc:spChg>
        <pc:spChg chg="add del mod">
          <ac:chgData name="Doerfler, Lena" userId="aeb0559f-200d-4a58-9e6d-125e1b704bf8" providerId="ADAL" clId="{2F42D7B1-B962-445E-8485-41980C3AF6B0}" dt="2023-04-05T14:56:12.273" v="11421" actId="478"/>
          <ac:spMkLst>
            <pc:docMk/>
            <pc:sldMk cId="4171012546" sldId="5418"/>
            <ac:spMk id="7" creationId="{1003120E-E4D6-19AD-EDD7-904CD3E2A1D4}"/>
          </ac:spMkLst>
        </pc:spChg>
        <pc:spChg chg="add del mod modVis">
          <ac:chgData name="Doerfler, Lena" userId="aeb0559f-200d-4a58-9e6d-125e1b704bf8" providerId="ADAL" clId="{2F42D7B1-B962-445E-8485-41980C3AF6B0}" dt="2023-03-01T14:18:54.822" v="9585"/>
          <ac:spMkLst>
            <pc:docMk/>
            <pc:sldMk cId="4171012546" sldId="5418"/>
            <ac:spMk id="7" creationId="{BDCF9279-8FA7-3A2C-2870-000C28B3FFF6}"/>
          </ac:spMkLst>
        </pc:spChg>
        <pc:spChg chg="add mod">
          <ac:chgData name="Doerfler, Lena" userId="aeb0559f-200d-4a58-9e6d-125e1b704bf8" providerId="ADAL" clId="{2F42D7B1-B962-445E-8485-41980C3AF6B0}" dt="2023-04-05T14:56:10.180" v="11420"/>
          <ac:spMkLst>
            <pc:docMk/>
            <pc:sldMk cId="4171012546" sldId="5418"/>
            <ac:spMk id="8" creationId="{3BA77A56-066B-5E05-F725-66FDA912D74B}"/>
          </ac:spMkLst>
        </pc:spChg>
        <pc:spChg chg="del mod">
          <ac:chgData name="Doerfler, Lena" userId="aeb0559f-200d-4a58-9e6d-125e1b704bf8" providerId="ADAL" clId="{2F42D7B1-B962-445E-8485-41980C3AF6B0}" dt="2023-04-05T13:12:30.763" v="11185" actId="478"/>
          <ac:spMkLst>
            <pc:docMk/>
            <pc:sldMk cId="4171012546" sldId="5418"/>
            <ac:spMk id="8" creationId="{FA837AF0-DD98-41C6-4768-E3F5C67CF485}"/>
          </ac:spMkLst>
        </pc:spChg>
        <pc:spChg chg="add mod">
          <ac:chgData name="Doerfler, Lena" userId="aeb0559f-200d-4a58-9e6d-125e1b704bf8" providerId="ADAL" clId="{2F42D7B1-B962-445E-8485-41980C3AF6B0}" dt="2023-04-05T14:56:10.180" v="11420"/>
          <ac:spMkLst>
            <pc:docMk/>
            <pc:sldMk cId="4171012546" sldId="5418"/>
            <ac:spMk id="10" creationId="{74D24198-188E-AFAA-0624-8D9386BB8B30}"/>
          </ac:spMkLst>
        </pc:spChg>
        <pc:spChg chg="add mod">
          <ac:chgData name="Doerfler, Lena" userId="aeb0559f-200d-4a58-9e6d-125e1b704bf8" providerId="ADAL" clId="{2F42D7B1-B962-445E-8485-41980C3AF6B0}" dt="2023-04-05T14:56:10.180" v="11420"/>
          <ac:spMkLst>
            <pc:docMk/>
            <pc:sldMk cId="4171012546" sldId="5418"/>
            <ac:spMk id="11" creationId="{D58B1C4C-7410-52F6-2AE1-C1A32BD3E331}"/>
          </ac:spMkLst>
        </pc:spChg>
        <pc:spChg chg="mod">
          <ac:chgData name="Doerfler, Lena" userId="aeb0559f-200d-4a58-9e6d-125e1b704bf8" providerId="ADAL" clId="{2F42D7B1-B962-445E-8485-41980C3AF6B0}" dt="2023-03-01T14:18:54.429" v="9266" actId="948"/>
          <ac:spMkLst>
            <pc:docMk/>
            <pc:sldMk cId="4171012546" sldId="5418"/>
            <ac:spMk id="16" creationId="{D83076B2-99C8-49A0-8F39-42B899B48F92}"/>
          </ac:spMkLst>
        </pc:spChg>
        <pc:spChg chg="mod">
          <ac:chgData name="Doerfler, Lena" userId="aeb0559f-200d-4a58-9e6d-125e1b704bf8" providerId="ADAL" clId="{2F42D7B1-B962-445E-8485-41980C3AF6B0}" dt="2023-03-01T14:18:53.437" v="8650"/>
          <ac:spMkLst>
            <pc:docMk/>
            <pc:sldMk cId="4171012546" sldId="5418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3-01T14:18:53.431" v="8645" actId="790"/>
          <ac:spMkLst>
            <pc:docMk/>
            <pc:sldMk cId="4171012546" sldId="5418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3-01T14:18:53.433" v="8646" actId="790"/>
          <ac:spMkLst>
            <pc:docMk/>
            <pc:sldMk cId="4171012546" sldId="5418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3-01T14:18:53.434" v="8647"/>
          <ac:spMkLst>
            <pc:docMk/>
            <pc:sldMk cId="4171012546" sldId="5418"/>
            <ac:spMk id="48" creationId="{824CA2A5-3CDE-4BFB-BE42-7943336893D4}"/>
          </ac:spMkLst>
        </pc:spChg>
        <pc:spChg chg="mod">
          <ac:chgData name="Doerfler, Lena" userId="aeb0559f-200d-4a58-9e6d-125e1b704bf8" providerId="ADAL" clId="{2F42D7B1-B962-445E-8485-41980C3AF6B0}" dt="2023-03-01T14:18:53.435" v="8648"/>
          <ac:spMkLst>
            <pc:docMk/>
            <pc:sldMk cId="4171012546" sldId="5418"/>
            <ac:spMk id="50" creationId="{77D819D9-9ACA-43B9-9E35-63FEDEDBD01D}"/>
          </ac:spMkLst>
        </pc:spChg>
        <pc:spChg chg="mod">
          <ac:chgData name="Doerfler, Lena" userId="aeb0559f-200d-4a58-9e6d-125e1b704bf8" providerId="ADAL" clId="{2F42D7B1-B962-445E-8485-41980C3AF6B0}" dt="2023-03-01T14:18:53.436" v="8649"/>
          <ac:spMkLst>
            <pc:docMk/>
            <pc:sldMk cId="4171012546" sldId="5418"/>
            <ac:spMk id="75" creationId="{86E4ABC5-D012-4113-86CA-45BAE3E7E9AA}"/>
          </ac:spMkLst>
        </pc:spChg>
        <pc:spChg chg="del mod">
          <ac:chgData name="Doerfler, Lena" userId="aeb0559f-200d-4a58-9e6d-125e1b704bf8" providerId="ADAL" clId="{2F42D7B1-B962-445E-8485-41980C3AF6B0}" dt="2023-04-05T14:56:09.604" v="11419" actId="478"/>
          <ac:spMkLst>
            <pc:docMk/>
            <pc:sldMk cId="4171012546" sldId="5418"/>
            <ac:spMk id="93" creationId="{4B8B34FB-BE0A-41CC-9ED7-8A4D955358B2}"/>
          </ac:spMkLst>
        </pc:spChg>
        <pc:spChg chg="del mod">
          <ac:chgData name="Doerfler, Lena" userId="aeb0559f-200d-4a58-9e6d-125e1b704bf8" providerId="ADAL" clId="{2F42D7B1-B962-445E-8485-41980C3AF6B0}" dt="2023-04-05T14:56:09.604" v="11419" actId="478"/>
          <ac:spMkLst>
            <pc:docMk/>
            <pc:sldMk cId="4171012546" sldId="5418"/>
            <ac:spMk id="95" creationId="{0F684D99-F0A9-4CD5-BFF8-58063E153CF8}"/>
          </ac:spMkLst>
        </pc:spChg>
        <pc:spChg chg="del mod">
          <ac:chgData name="Doerfler, Lena" userId="aeb0559f-200d-4a58-9e6d-125e1b704bf8" providerId="ADAL" clId="{2F42D7B1-B962-445E-8485-41980C3AF6B0}" dt="2023-04-05T14:56:09.604" v="11419" actId="478"/>
          <ac:spMkLst>
            <pc:docMk/>
            <pc:sldMk cId="4171012546" sldId="5418"/>
            <ac:spMk id="102" creationId="{81D11542-C8C9-438B-93D2-CFD2AB6D4FDF}"/>
          </ac:spMkLst>
        </pc:spChg>
        <pc:grpChg chg="mod">
          <ac:chgData name="Doerfler, Lena" userId="aeb0559f-200d-4a58-9e6d-125e1b704bf8" providerId="ADAL" clId="{2F42D7B1-B962-445E-8485-41980C3AF6B0}" dt="2023-03-01T14:16:22.727" v="7610"/>
          <ac:grpSpMkLst>
            <pc:docMk/>
            <pc:sldMk cId="4171012546" sldId="5418"/>
            <ac:grpSpMk id="6" creationId="{A4900D07-B183-415B-8C9F-9D663FD11449}"/>
          </ac:grpSpMkLst>
        </pc:grpChg>
        <pc:grpChg chg="mod">
          <ac:chgData name="Doerfler, Lena" userId="aeb0559f-200d-4a58-9e6d-125e1b704bf8" providerId="ADAL" clId="{2F42D7B1-B962-445E-8485-41980C3AF6B0}" dt="2023-03-01T14:16:22.805" v="7729"/>
          <ac:grpSpMkLst>
            <pc:docMk/>
            <pc:sldMk cId="4171012546" sldId="5418"/>
            <ac:grpSpMk id="27" creationId="{A151701C-BDB6-31CC-299D-27D87087040E}"/>
          </ac:grpSpMkLst>
        </pc:grpChg>
        <pc:graphicFrameChg chg="add mod ord modVis replST">
          <ac:chgData name="Doerfler, Lena" userId="aeb0559f-200d-4a58-9e6d-125e1b704bf8" providerId="ADAL" clId="{2F42D7B1-B962-445E-8485-41980C3AF6B0}" dt="2023-03-01T14:18:55.103" v="9601"/>
          <ac:graphicFrameMkLst>
            <pc:docMk/>
            <pc:sldMk cId="4171012546" sldId="5418"/>
            <ac:graphicFrameMk id="9" creationId="{652BB141-ED85-7234-2D1D-5C284323053D}"/>
          </ac:graphicFrameMkLst>
        </pc:graphicFrameChg>
        <pc:picChg chg="mod">
          <ac:chgData name="Doerfler, Lena" userId="aeb0559f-200d-4a58-9e6d-125e1b704bf8" providerId="ADAL" clId="{2F42D7B1-B962-445E-8485-41980C3AF6B0}" dt="2023-03-01T14:16:22.789" v="7707"/>
          <ac:picMkLst>
            <pc:docMk/>
            <pc:sldMk cId="4171012546" sldId="5418"/>
            <ac:picMk id="25" creationId="{43266FE7-07B3-C1BB-894E-5E66127D0B1E}"/>
          </ac:picMkLst>
        </pc:picChg>
        <pc:picChg chg="mod">
          <ac:chgData name="Doerfler, Lena" userId="aeb0559f-200d-4a58-9e6d-125e1b704bf8" providerId="ADAL" clId="{2F42D7B1-B962-445E-8485-41980C3AF6B0}" dt="2023-03-01T14:16:22.796" v="7718"/>
          <ac:picMkLst>
            <pc:docMk/>
            <pc:sldMk cId="4171012546" sldId="5418"/>
            <ac:picMk id="26" creationId="{3D2C0374-021E-B508-6A33-BFBF293D1616}"/>
          </ac:picMkLst>
        </pc:picChg>
        <pc:picChg chg="mod">
          <ac:chgData name="Doerfler, Lena" userId="aeb0559f-200d-4a58-9e6d-125e1b704bf8" providerId="ADAL" clId="{2F42D7B1-B962-445E-8485-41980C3AF6B0}" dt="2023-03-01T14:16:22.803" v="7728"/>
          <ac:picMkLst>
            <pc:docMk/>
            <pc:sldMk cId="4171012546" sldId="5418"/>
            <ac:picMk id="28" creationId="{D067FBC3-5402-282D-45D0-668A712B2E02}"/>
          </ac:picMkLst>
        </pc:picChg>
        <pc:picChg chg="mod">
          <ac:chgData name="Doerfler, Lena" userId="aeb0559f-200d-4a58-9e6d-125e1b704bf8" providerId="ADAL" clId="{2F42D7B1-B962-445E-8485-41980C3AF6B0}" dt="2023-03-01T14:16:22.772" v="7685"/>
          <ac:picMkLst>
            <pc:docMk/>
            <pc:sldMk cId="4171012546" sldId="5418"/>
            <ac:picMk id="35" creationId="{DD60EB35-9BB9-45DD-8BF4-0BF6AA36BA11}"/>
          </ac:picMkLst>
        </pc:picChg>
        <pc:picChg chg="mod">
          <ac:chgData name="Doerfler, Lena" userId="aeb0559f-200d-4a58-9e6d-125e1b704bf8" providerId="ADAL" clId="{2F42D7B1-B962-445E-8485-41980C3AF6B0}" dt="2023-03-01T14:16:22.779" v="7696"/>
          <ac:picMkLst>
            <pc:docMk/>
            <pc:sldMk cId="4171012546" sldId="5418"/>
            <ac:picMk id="36" creationId="{D62DAAFC-2903-4D94-9DC7-200771D7C98A}"/>
          </ac:picMkLst>
        </pc:picChg>
        <pc:picChg chg="mod">
          <ac:chgData name="Doerfler, Lena" userId="aeb0559f-200d-4a58-9e6d-125e1b704bf8" providerId="ADAL" clId="{2F42D7B1-B962-445E-8485-41980C3AF6B0}" dt="2023-03-01T14:16:22.803" v="7728"/>
          <ac:picMkLst>
            <pc:docMk/>
            <pc:sldMk cId="4171012546" sldId="5418"/>
            <ac:picMk id="51" creationId="{99CBA120-BC5B-6386-281C-F4EC4AB831F8}"/>
          </ac:picMkLst>
        </pc:picChg>
        <pc:cxnChg chg="mod">
          <ac:chgData name="Doerfler, Lena" userId="aeb0559f-200d-4a58-9e6d-125e1b704bf8" providerId="ADAL" clId="{2F42D7B1-B962-445E-8485-41980C3AF6B0}" dt="2023-03-01T14:16:22.727" v="7610"/>
          <ac:cxnSpMkLst>
            <pc:docMk/>
            <pc:sldMk cId="4171012546" sldId="5418"/>
            <ac:cxnSpMk id="38" creationId="{752F9CE5-C7F2-46EE-8262-0A9C453A8662}"/>
          </ac:cxnSpMkLst>
        </pc:cxnChg>
        <pc:cxnChg chg="mod">
          <ac:chgData name="Doerfler, Lena" userId="aeb0559f-200d-4a58-9e6d-125e1b704bf8" providerId="ADAL" clId="{2F42D7B1-B962-445E-8485-41980C3AF6B0}" dt="2023-03-01T14:16:22.735" v="7626"/>
          <ac:cxnSpMkLst>
            <pc:docMk/>
            <pc:sldMk cId="4171012546" sldId="5418"/>
            <ac:cxnSpMk id="77" creationId="{4FEAE43D-A276-41C7-AB7D-3554192E7DBB}"/>
          </ac:cxnSpMkLst>
        </pc:cxnChg>
      </pc:sldChg>
      <pc:sldChg chg="addSp delSp modSp add mod ord modClrScheme modAnim chgLayout modNotes">
        <pc:chgData name="Doerfler, Lena" userId="aeb0559f-200d-4a58-9e6d-125e1b704bf8" providerId="ADAL" clId="{2F42D7B1-B962-445E-8485-41980C3AF6B0}" dt="2023-04-14T14:00:56.996" v="13676" actId="1076"/>
        <pc:sldMkLst>
          <pc:docMk/>
          <pc:sldMk cId="564462422" sldId="5419"/>
        </pc:sldMkLst>
        <pc:spChg chg="mod ord">
          <ac:chgData name="Doerfler, Lena" userId="aeb0559f-200d-4a58-9e6d-125e1b704bf8" providerId="ADAL" clId="{2F42D7B1-B962-445E-8485-41980C3AF6B0}" dt="2023-04-13T14:40:31.805" v="12454"/>
          <ac:spMkLst>
            <pc:docMk/>
            <pc:sldMk cId="564462422" sldId="5419"/>
            <ac:spMk id="2" creationId="{EC564122-7C24-4E05-A89C-FF1EB561C91C}"/>
          </ac:spMkLst>
        </pc:spChg>
        <pc:spChg chg="add mod ord">
          <ac:chgData name="Doerfler, Lena" userId="aeb0559f-200d-4a58-9e6d-125e1b704bf8" providerId="ADAL" clId="{2F42D7B1-B962-445E-8485-41980C3AF6B0}" dt="2023-04-13T14:40:31.805" v="12450"/>
          <ac:spMkLst>
            <pc:docMk/>
            <pc:sldMk cId="564462422" sldId="5419"/>
            <ac:spMk id="3" creationId="{2E877143-71D9-9F7C-D870-481284EE62DD}"/>
          </ac:spMkLst>
        </pc:spChg>
        <pc:spChg chg="add del mod ord">
          <ac:chgData name="Doerfler, Lena" userId="aeb0559f-200d-4a58-9e6d-125e1b704bf8" providerId="ADAL" clId="{2F42D7B1-B962-445E-8485-41980C3AF6B0}" dt="2023-04-13T14:40:42.090" v="12514" actId="478"/>
          <ac:spMkLst>
            <pc:docMk/>
            <pc:sldMk cId="564462422" sldId="5419"/>
            <ac:spMk id="4" creationId="{50AC1853-40F6-651A-21A8-A413FCFA6B90}"/>
          </ac:spMkLst>
        </pc:spChg>
        <pc:spChg chg="add del mod ord">
          <ac:chgData name="Doerfler, Lena" userId="aeb0559f-200d-4a58-9e6d-125e1b704bf8" providerId="ADAL" clId="{2F42D7B1-B962-445E-8485-41980C3AF6B0}" dt="2023-03-02T07:32:28.408" v="9874" actId="478"/>
          <ac:spMkLst>
            <pc:docMk/>
            <pc:sldMk cId="564462422" sldId="5419"/>
            <ac:spMk id="4" creationId="{8902ABBB-CBD2-1C6C-D643-0B56A5F33502}"/>
          </ac:spMkLst>
        </pc:spChg>
        <pc:spChg chg="add del mod">
          <ac:chgData name="Doerfler, Lena" userId="aeb0559f-200d-4a58-9e6d-125e1b704bf8" providerId="ADAL" clId="{2F42D7B1-B962-445E-8485-41980C3AF6B0}" dt="2023-03-01T14:18:54.078" v="9105"/>
          <ac:spMkLst>
            <pc:docMk/>
            <pc:sldMk cId="564462422" sldId="5419"/>
            <ac:spMk id="4" creationId="{91E5D4FB-5D2F-1AD8-A289-D91B09F993EA}"/>
          </ac:spMkLst>
        </pc:spChg>
        <pc:spChg chg="add mod ord">
          <ac:chgData name="Doerfler, Lena" userId="aeb0559f-200d-4a58-9e6d-125e1b704bf8" providerId="ADAL" clId="{2F42D7B1-B962-445E-8485-41980C3AF6B0}" dt="2023-04-13T14:40:31.805" v="12448"/>
          <ac:spMkLst>
            <pc:docMk/>
            <pc:sldMk cId="564462422" sldId="5419"/>
            <ac:spMk id="5" creationId="{60534005-34DC-42E1-F682-FE16FADEBEA3}"/>
          </ac:spMkLst>
        </pc:spChg>
        <pc:spChg chg="add mod ord">
          <ac:chgData name="Doerfler, Lena" userId="aeb0559f-200d-4a58-9e6d-125e1b704bf8" providerId="ADAL" clId="{2F42D7B1-B962-445E-8485-41980C3AF6B0}" dt="2023-04-13T14:40:31.805" v="12452"/>
          <ac:spMkLst>
            <pc:docMk/>
            <pc:sldMk cId="564462422" sldId="5419"/>
            <ac:spMk id="8" creationId="{935A7EC7-97BD-2CA4-197B-27B9D13CCE2C}"/>
          </ac:spMkLst>
        </pc:spChg>
        <pc:spChg chg="add mod ord">
          <ac:chgData name="Doerfler, Lena" userId="aeb0559f-200d-4a58-9e6d-125e1b704bf8" providerId="ADAL" clId="{2F42D7B1-B962-445E-8485-41980C3AF6B0}" dt="2023-04-13T14:40:31.805" v="12456"/>
          <ac:spMkLst>
            <pc:docMk/>
            <pc:sldMk cId="564462422" sldId="5419"/>
            <ac:spMk id="9" creationId="{0093A34C-FFB4-92E3-06D8-B09121B9EB03}"/>
          </ac:spMkLst>
        </pc:spChg>
        <pc:spChg chg="add del mod modVis">
          <ac:chgData name="Doerfler, Lena" userId="aeb0559f-200d-4a58-9e6d-125e1b704bf8" providerId="ADAL" clId="{2F42D7B1-B962-445E-8485-41980C3AF6B0}" dt="2023-03-01T14:18:55.104" v="9603"/>
          <ac:spMkLst>
            <pc:docMk/>
            <pc:sldMk cId="564462422" sldId="5419"/>
            <ac:spMk id="9" creationId="{4A271D1C-AEBB-5AF2-00EC-886DC29DE470}"/>
          </ac:spMkLst>
        </pc:spChg>
        <pc:spChg chg="add del mod modVis">
          <ac:chgData name="Doerfler, Lena" userId="aeb0559f-200d-4a58-9e6d-125e1b704bf8" providerId="ADAL" clId="{2F42D7B1-B962-445E-8485-41980C3AF6B0}" dt="2023-04-13T14:40:31.830" v="12510"/>
          <ac:spMkLst>
            <pc:docMk/>
            <pc:sldMk cId="564462422" sldId="5419"/>
            <ac:spMk id="10" creationId="{66F50A5C-EC97-E433-3420-2E9E8458E287}"/>
          </ac:spMkLst>
        </pc:spChg>
        <pc:spChg chg="add del mod modVis">
          <ac:chgData name="Doerfler, Lena" userId="aeb0559f-200d-4a58-9e6d-125e1b704bf8" providerId="ADAL" clId="{2F42D7B1-B962-445E-8485-41980C3AF6B0}" dt="2023-03-02T07:32:13.147" v="9816"/>
          <ac:spMkLst>
            <pc:docMk/>
            <pc:sldMk cId="564462422" sldId="5419"/>
            <ac:spMk id="10" creationId="{7DBB515E-7E71-2843-5062-D75B82623F65}"/>
          </ac:spMkLst>
        </pc:spChg>
        <pc:spChg chg="del mod">
          <ac:chgData name="Doerfler, Lena" userId="aeb0559f-200d-4a58-9e6d-125e1b704bf8" providerId="ADAL" clId="{2F42D7B1-B962-445E-8485-41980C3AF6B0}" dt="2023-03-02T07:32:26.634" v="9873" actId="478"/>
          <ac:spMkLst>
            <pc:docMk/>
            <pc:sldMk cId="564462422" sldId="5419"/>
            <ac:spMk id="19" creationId="{F95CB641-F88B-4F08-9984-BCDC7C7D17B6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76" creationId="{BAA968A9-BBA1-443D-8D9F-C3B449D4CE02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77" creationId="{3C6D689C-BEE1-4F14-AD64-C0CB86C101F3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78" creationId="{52D1F5EF-DF0F-411A-BF55-FEA64843BA73}"/>
          </ac:spMkLst>
        </pc:spChg>
        <pc:spChg chg="mod">
          <ac:chgData name="Doerfler, Lena" userId="aeb0559f-200d-4a58-9e6d-125e1b704bf8" providerId="ADAL" clId="{2F42D7B1-B962-445E-8485-41980C3AF6B0}" dt="2023-03-01T14:18:53.458" v="8667" actId="790"/>
          <ac:spMkLst>
            <pc:docMk/>
            <pc:sldMk cId="564462422" sldId="5419"/>
            <ac:spMk id="84" creationId="{DF4E5A7F-6F68-4FFC-B130-044EAF774BA3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97" creationId="{A36A0E65-383A-49D2-857A-3244BA067202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117" creationId="{ECD5799F-F0D2-AE93-D254-65EF038E065D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119" creationId="{C5E9F0F0-C7FF-4429-ADD5-EA6FC58908C4}"/>
          </ac:spMkLst>
        </pc:spChg>
        <pc:spChg chg="mod">
          <ac:chgData name="Doerfler, Lena" userId="aeb0559f-200d-4a58-9e6d-125e1b704bf8" providerId="ADAL" clId="{2F42D7B1-B962-445E-8485-41980C3AF6B0}" dt="2023-03-01T14:18:53.460" v="8669" actId="790"/>
          <ac:spMkLst>
            <pc:docMk/>
            <pc:sldMk cId="564462422" sldId="5419"/>
            <ac:spMk id="120" creationId="{1D2F6011-C453-47D0-87D8-81F99A13A90B}"/>
          </ac:spMkLst>
        </pc:spChg>
        <pc:spChg chg="mod">
          <ac:chgData name="Doerfler, Lena" userId="aeb0559f-200d-4a58-9e6d-125e1b704bf8" providerId="ADAL" clId="{2F42D7B1-B962-445E-8485-41980C3AF6B0}" dt="2023-03-01T14:18:53.461" v="8670" actId="790"/>
          <ac:spMkLst>
            <pc:docMk/>
            <pc:sldMk cId="564462422" sldId="5419"/>
            <ac:spMk id="122" creationId="{710517F2-E228-48AA-9F47-F9CFEBA56FD3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124" creationId="{5DA6D5DD-8BB7-41CE-8E21-68031A6EA105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158" creationId="{79789B14-85A9-4A75-8F18-BF292E474850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159" creationId="{15B7919F-24FE-437C-B887-195A668FB897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162" creationId="{8030D285-078A-4025-BDC5-3640B519198A}"/>
          </ac:spMkLst>
        </pc:spChg>
        <pc:spChg chg="mod">
          <ac:chgData name="Doerfler, Lena" userId="aeb0559f-200d-4a58-9e6d-125e1b704bf8" providerId="ADAL" clId="{2F42D7B1-B962-445E-8485-41980C3AF6B0}" dt="2023-03-01T14:18:53.464" v="8674" actId="790"/>
          <ac:spMkLst>
            <pc:docMk/>
            <pc:sldMk cId="564462422" sldId="5419"/>
            <ac:spMk id="185" creationId="{8E05DF33-5A80-4767-A9CF-B2DC3689626C}"/>
          </ac:spMkLst>
        </pc:spChg>
        <pc:spChg chg="mod ord">
          <ac:chgData name="Doerfler, Lena" userId="aeb0559f-200d-4a58-9e6d-125e1b704bf8" providerId="ADAL" clId="{2F42D7B1-B962-445E-8485-41980C3AF6B0}" dt="2023-04-14T14:00:35.804" v="13675" actId="14100"/>
          <ac:spMkLst>
            <pc:docMk/>
            <pc:sldMk cId="564462422" sldId="5419"/>
            <ac:spMk id="190" creationId="{FA717EC3-A8A9-4F53-8790-5A83DEA4C6FD}"/>
          </ac:spMkLst>
        </pc:spChg>
        <pc:spChg chg="mod ord">
          <ac:chgData name="Doerfler, Lena" userId="aeb0559f-200d-4a58-9e6d-125e1b704bf8" providerId="ADAL" clId="{2F42D7B1-B962-445E-8485-41980C3AF6B0}" dt="2023-04-14T13:53:37.757" v="13645" actId="1035"/>
          <ac:spMkLst>
            <pc:docMk/>
            <pc:sldMk cId="564462422" sldId="5419"/>
            <ac:spMk id="201" creationId="{A7C1CF94-B683-43EB-A694-61623756A60D}"/>
          </ac:spMkLst>
        </pc:spChg>
        <pc:grpChg chg="mod ord">
          <ac:chgData name="Doerfler, Lena" userId="aeb0559f-200d-4a58-9e6d-125e1b704bf8" providerId="ADAL" clId="{2F42D7B1-B962-445E-8485-41980C3AF6B0}" dt="2023-04-14T13:53:37.757" v="13645" actId="1035"/>
          <ac:grpSpMkLst>
            <pc:docMk/>
            <pc:sldMk cId="564462422" sldId="5419"/>
            <ac:grpSpMk id="6" creationId="{626EB3C5-E696-42D9-B64F-A51470590889}"/>
          </ac:grpSpMkLst>
        </pc:grpChg>
        <pc:grpChg chg="mod ord">
          <ac:chgData name="Doerfler, Lena" userId="aeb0559f-200d-4a58-9e6d-125e1b704bf8" providerId="ADAL" clId="{2F42D7B1-B962-445E-8485-41980C3AF6B0}" dt="2023-04-14T13:53:37.757" v="13645" actId="1035"/>
          <ac:grpSpMkLst>
            <pc:docMk/>
            <pc:sldMk cId="564462422" sldId="5419"/>
            <ac:grpSpMk id="7" creationId="{9A8974DF-10EB-4B75-A459-F21C95D3E811}"/>
          </ac:grpSpMkLst>
        </pc:grpChg>
        <pc:grpChg chg="mod ord">
          <ac:chgData name="Doerfler, Lena" userId="aeb0559f-200d-4a58-9e6d-125e1b704bf8" providerId="ADAL" clId="{2F42D7B1-B962-445E-8485-41980C3AF6B0}" dt="2023-04-14T13:53:37.757" v="13645" actId="1035"/>
          <ac:grpSpMkLst>
            <pc:docMk/>
            <pc:sldMk cId="564462422" sldId="5419"/>
            <ac:grpSpMk id="64" creationId="{7A3607A2-E7F3-4BB1-97EF-74653B2C9A5E}"/>
          </ac:grpSpMkLst>
        </pc:grpChg>
        <pc:grpChg chg="mod ord">
          <ac:chgData name="Doerfler, Lena" userId="aeb0559f-200d-4a58-9e6d-125e1b704bf8" providerId="ADAL" clId="{2F42D7B1-B962-445E-8485-41980C3AF6B0}" dt="2023-04-14T14:00:56.996" v="13676" actId="1076"/>
          <ac:grpSpMkLst>
            <pc:docMk/>
            <pc:sldMk cId="564462422" sldId="5419"/>
            <ac:grpSpMk id="100" creationId="{C64469DB-691E-A331-5EE2-8530161DE35E}"/>
          </ac:grpSpMkLst>
        </pc:grpChg>
        <pc:grpChg chg="mod ord">
          <ac:chgData name="Doerfler, Lena" userId="aeb0559f-200d-4a58-9e6d-125e1b704bf8" providerId="ADAL" clId="{2F42D7B1-B962-445E-8485-41980C3AF6B0}" dt="2023-04-14T13:53:37.757" v="13645" actId="1035"/>
          <ac:grpSpMkLst>
            <pc:docMk/>
            <pc:sldMk cId="564462422" sldId="5419"/>
            <ac:grpSpMk id="101" creationId="{C241A9E6-1047-65E2-9FB5-0F6DCDD3B000}"/>
          </ac:grpSpMkLst>
        </pc:grpChg>
        <pc:grpChg chg="mod ord">
          <ac:chgData name="Doerfler, Lena" userId="aeb0559f-200d-4a58-9e6d-125e1b704bf8" providerId="ADAL" clId="{2F42D7B1-B962-445E-8485-41980C3AF6B0}" dt="2023-04-14T13:53:37.757" v="13645" actId="1035"/>
          <ac:grpSpMkLst>
            <pc:docMk/>
            <pc:sldMk cId="564462422" sldId="5419"/>
            <ac:grpSpMk id="102" creationId="{63888615-6D5A-D2E2-CF81-9E9C2DE4C325}"/>
          </ac:grpSpMkLst>
        </pc:grpChg>
        <pc:grpChg chg="mod ord">
          <ac:chgData name="Doerfler, Lena" userId="aeb0559f-200d-4a58-9e6d-125e1b704bf8" providerId="ADAL" clId="{2F42D7B1-B962-445E-8485-41980C3AF6B0}" dt="2023-04-14T13:53:37.757" v="13645" actId="1035"/>
          <ac:grpSpMkLst>
            <pc:docMk/>
            <pc:sldMk cId="564462422" sldId="5419"/>
            <ac:grpSpMk id="184" creationId="{FE495053-0A41-401F-8604-C273D78A521D}"/>
          </ac:grpSpMkLst>
        </pc:grpChg>
        <pc:graphicFrameChg chg="mod">
          <ac:chgData name="Doerfler, Lena" userId="aeb0559f-200d-4a58-9e6d-125e1b704bf8" providerId="ADAL" clId="{2F42D7B1-B962-445E-8485-41980C3AF6B0}" dt="2023-04-13T14:40:31.840" v="12512"/>
          <ac:graphicFrameMkLst>
            <pc:docMk/>
            <pc:sldMk cId="564462422" sldId="5419"/>
            <ac:graphicFrameMk id="160" creationId="{CEB5AE6F-EAA3-49EE-859C-A2594BDC1F9B}"/>
          </ac:graphicFrameMkLst>
        </pc:graphicFrame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14" creationId="{0D1904BA-4CEE-46D6-DBDF-6168F2FA9F13}"/>
          </ac:picMkLst>
        </pc:pic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69" creationId="{0B7B02B2-03AE-A659-117F-27A4B0958C7B}"/>
          </ac:picMkLst>
        </pc:pic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71" creationId="{FB0AAA1C-9CDC-C3AA-DC53-F3D8688348F5}"/>
          </ac:picMkLst>
        </pc:pic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88" creationId="{3148EA92-D7BC-90AA-D7FE-67CA1F18DD33}"/>
          </ac:picMkLst>
        </pc:pic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89" creationId="{71BDAE7B-F635-CFC5-5A48-0B1FF0F65041}"/>
          </ac:picMkLst>
        </pc:pic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90" creationId="{86B46355-4123-EA14-47F3-330D91454967}"/>
          </ac:picMkLst>
        </pc:pic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92" creationId="{F8F595C8-B9B4-5144-A80C-4292051E2F07}"/>
          </ac:picMkLst>
        </pc:pic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99" creationId="{1A9CA223-FA47-486E-8D12-EE75CCBC469C}"/>
          </ac:picMkLst>
        </pc:picChg>
        <pc:picChg chg="mod ord">
          <ac:chgData name="Doerfler, Lena" userId="aeb0559f-200d-4a58-9e6d-125e1b704bf8" providerId="ADAL" clId="{2F42D7B1-B962-445E-8485-41980C3AF6B0}" dt="2023-04-14T13:53:37.757" v="13645" actId="1035"/>
          <ac:picMkLst>
            <pc:docMk/>
            <pc:sldMk cId="564462422" sldId="5419"/>
            <ac:picMk id="112" creationId="{974C870F-CEAD-B201-C693-E43CB7138C08}"/>
          </ac:picMkLst>
        </pc:picChg>
      </pc:sldChg>
      <pc:sldChg chg="addSp delSp modSp add mod ord modClrScheme chgLayout modNotes">
        <pc:chgData name="Doerfler, Lena" userId="aeb0559f-200d-4a58-9e6d-125e1b704bf8" providerId="ADAL" clId="{2F42D7B1-B962-445E-8485-41980C3AF6B0}" dt="2023-04-05T14:56:04.305" v="11418"/>
        <pc:sldMkLst>
          <pc:docMk/>
          <pc:sldMk cId="3440386577" sldId="5420"/>
        </pc:sldMkLst>
        <pc:spChg chg="add mod ord">
          <ac:chgData name="Doerfler, Lena" userId="aeb0559f-200d-4a58-9e6d-125e1b704bf8" providerId="ADAL" clId="{2F42D7B1-B962-445E-8485-41980C3AF6B0}" dt="2023-03-02T07:32:34.289" v="9876"/>
          <ac:spMkLst>
            <pc:docMk/>
            <pc:sldMk cId="3440386577" sldId="5420"/>
            <ac:spMk id="2" creationId="{BD8E3941-CEBA-04F2-D718-6D21DE8C7414}"/>
          </ac:spMkLst>
        </pc:spChg>
        <pc:spChg chg="add del mod ord">
          <ac:chgData name="Doerfler, Lena" userId="aeb0559f-200d-4a58-9e6d-125e1b704bf8" providerId="ADAL" clId="{2F42D7B1-B962-445E-8485-41980C3AF6B0}" dt="2023-03-02T07:32:43.681" v="9951" actId="478"/>
          <ac:spMkLst>
            <pc:docMk/>
            <pc:sldMk cId="3440386577" sldId="5420"/>
            <ac:spMk id="3" creationId="{9691E6AC-C4FF-DF54-2E27-6D3ABEBEB76B}"/>
          </ac:spMkLst>
        </pc:spChg>
        <pc:spChg chg="add del mod">
          <ac:chgData name="Doerfler, Lena" userId="aeb0559f-200d-4a58-9e6d-125e1b704bf8" providerId="ADAL" clId="{2F42D7B1-B962-445E-8485-41980C3AF6B0}" dt="2023-03-01T14:18:54.084" v="9110"/>
          <ac:spMkLst>
            <pc:docMk/>
            <pc:sldMk cId="3440386577" sldId="5420"/>
            <ac:spMk id="3" creationId="{C77D3CA7-F882-706D-99D8-80C8DB609563}"/>
          </ac:spMkLst>
        </pc:spChg>
        <pc:spChg chg="add mod">
          <ac:chgData name="Doerfler, Lena" userId="aeb0559f-200d-4a58-9e6d-125e1b704bf8" providerId="ADAL" clId="{2F42D7B1-B962-445E-8485-41980C3AF6B0}" dt="2023-04-05T14:56:04.305" v="11418"/>
          <ac:spMkLst>
            <pc:docMk/>
            <pc:sldMk cId="3440386577" sldId="5420"/>
            <ac:spMk id="3" creationId="{DD0BE66D-5702-631E-5E88-5A9F4DB43E30}"/>
          </ac:spMkLst>
        </pc:spChg>
        <pc:spChg chg="add mod ord">
          <ac:chgData name="Doerfler, Lena" userId="aeb0559f-200d-4a58-9e6d-125e1b704bf8" providerId="ADAL" clId="{2F42D7B1-B962-445E-8485-41980C3AF6B0}" dt="2023-03-02T07:32:34.289" v="9876"/>
          <ac:spMkLst>
            <pc:docMk/>
            <pc:sldMk cId="3440386577" sldId="5420"/>
            <ac:spMk id="4" creationId="{F4118756-61B8-9F3B-32FF-40330AD220B3}"/>
          </ac:spMkLst>
        </pc:spChg>
        <pc:spChg chg="add mod ord">
          <ac:chgData name="Doerfler, Lena" userId="aeb0559f-200d-4a58-9e6d-125e1b704bf8" providerId="ADAL" clId="{2F42D7B1-B962-445E-8485-41980C3AF6B0}" dt="2023-03-02T07:32:34.289" v="9876"/>
          <ac:spMkLst>
            <pc:docMk/>
            <pc:sldMk cId="3440386577" sldId="5420"/>
            <ac:spMk id="5" creationId="{D69F2297-9296-E79C-9205-D862742F390F}"/>
          </ac:spMkLst>
        </pc:spChg>
        <pc:spChg chg="add del mod modVis">
          <ac:chgData name="Doerfler, Lena" userId="aeb0559f-200d-4a58-9e6d-125e1b704bf8" providerId="ADAL" clId="{2F42D7B1-B962-445E-8485-41980C3AF6B0}" dt="2023-03-01T14:18:55.111" v="9611"/>
          <ac:spMkLst>
            <pc:docMk/>
            <pc:sldMk cId="3440386577" sldId="5420"/>
            <ac:spMk id="7" creationId="{264E9288-A6A9-A6FD-411E-163643092050}"/>
          </ac:spMkLst>
        </pc:spChg>
        <pc:spChg chg="add mod ord">
          <ac:chgData name="Doerfler, Lena" userId="aeb0559f-200d-4a58-9e6d-125e1b704bf8" providerId="ADAL" clId="{2F42D7B1-B962-445E-8485-41980C3AF6B0}" dt="2023-03-02T07:32:39.211" v="9949" actId="20577"/>
          <ac:spMkLst>
            <pc:docMk/>
            <pc:sldMk cId="3440386577" sldId="5420"/>
            <ac:spMk id="7" creationId="{BEF12CA7-B763-48C8-4BAC-BAE480DDD18A}"/>
          </ac:spMkLst>
        </pc:spChg>
        <pc:spChg chg="del mod">
          <ac:chgData name="Doerfler, Lena" userId="aeb0559f-200d-4a58-9e6d-125e1b704bf8" providerId="ADAL" clId="{2F42D7B1-B962-445E-8485-41980C3AF6B0}" dt="2023-03-02T07:32:42.665" v="9950" actId="478"/>
          <ac:spMkLst>
            <pc:docMk/>
            <pc:sldMk cId="3440386577" sldId="5420"/>
            <ac:spMk id="9" creationId="{1E2875BD-FC55-1286-5D68-61C88B45FFF6}"/>
          </ac:spMkLst>
        </pc:spChg>
        <pc:spChg chg="add mod">
          <ac:chgData name="Doerfler, Lena" userId="aeb0559f-200d-4a58-9e6d-125e1b704bf8" providerId="ADAL" clId="{2F42D7B1-B962-445E-8485-41980C3AF6B0}" dt="2023-04-05T14:56:04.305" v="11418"/>
          <ac:spMkLst>
            <pc:docMk/>
            <pc:sldMk cId="3440386577" sldId="5420"/>
            <ac:spMk id="9" creationId="{7B959112-D6F5-489D-5FBF-8521BE0DC2AE}"/>
          </ac:spMkLst>
        </pc:spChg>
        <pc:spChg chg="add del mod modVis">
          <ac:chgData name="Doerfler, Lena" userId="aeb0559f-200d-4a58-9e6d-125e1b704bf8" providerId="ADAL" clId="{2F42D7B1-B962-445E-8485-41980C3AF6B0}" dt="2023-03-02T07:32:34.853" v="9918"/>
          <ac:spMkLst>
            <pc:docMk/>
            <pc:sldMk cId="3440386577" sldId="5420"/>
            <ac:spMk id="10" creationId="{708C4A87-7A17-5503-5EFF-FDAFCD924ED1}"/>
          </ac:spMkLst>
        </pc:spChg>
        <pc:spChg chg="add mod">
          <ac:chgData name="Doerfler, Lena" userId="aeb0559f-200d-4a58-9e6d-125e1b704bf8" providerId="ADAL" clId="{2F42D7B1-B962-445E-8485-41980C3AF6B0}" dt="2023-04-05T14:56:04.305" v="11418"/>
          <ac:spMkLst>
            <pc:docMk/>
            <pc:sldMk cId="3440386577" sldId="5420"/>
            <ac:spMk id="10" creationId="{E281EC31-EE4E-C41C-A01C-BD2823BE746D}"/>
          </ac:spMkLst>
        </pc:spChg>
        <pc:spChg chg="add mod">
          <ac:chgData name="Doerfler, Lena" userId="aeb0559f-200d-4a58-9e6d-125e1b704bf8" providerId="ADAL" clId="{2F42D7B1-B962-445E-8485-41980C3AF6B0}" dt="2023-04-05T14:56:04.305" v="11418"/>
          <ac:spMkLst>
            <pc:docMk/>
            <pc:sldMk cId="3440386577" sldId="5420"/>
            <ac:spMk id="11" creationId="{83216AE3-1E28-49C9-17A3-B2129F163DF9}"/>
          </ac:spMkLst>
        </pc:spChg>
        <pc:spChg chg="mod ord">
          <ac:chgData name="Doerfler, Lena" userId="aeb0559f-200d-4a58-9e6d-125e1b704bf8" providerId="ADAL" clId="{2F42D7B1-B962-445E-8485-41980C3AF6B0}" dt="2023-03-02T07:32:34.808" v="9877" actId="948"/>
          <ac:spMkLst>
            <pc:docMk/>
            <pc:sldMk cId="3440386577" sldId="5420"/>
            <ac:spMk id="16" creationId="{D83076B2-99C8-49A0-8F39-42B899B48F92}"/>
          </ac:spMkLst>
        </pc:spChg>
        <pc:spChg chg="mod">
          <ac:chgData name="Doerfler, Lena" userId="aeb0559f-200d-4a58-9e6d-125e1b704bf8" providerId="ADAL" clId="{2F42D7B1-B962-445E-8485-41980C3AF6B0}" dt="2023-03-01T14:18:53.491" v="8696" actId="790"/>
          <ac:spMkLst>
            <pc:docMk/>
            <pc:sldMk cId="3440386577" sldId="5420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3-01T14:18:53.485" v="8691" actId="790"/>
          <ac:spMkLst>
            <pc:docMk/>
            <pc:sldMk cId="3440386577" sldId="5420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3-01T14:18:53.487" v="8692" actId="790"/>
          <ac:spMkLst>
            <pc:docMk/>
            <pc:sldMk cId="3440386577" sldId="5420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3-01T14:18:53.488" v="8693" actId="790"/>
          <ac:spMkLst>
            <pc:docMk/>
            <pc:sldMk cId="3440386577" sldId="5420"/>
            <ac:spMk id="48" creationId="{824CA2A5-3CDE-4BFB-BE42-7943336893D4}"/>
          </ac:spMkLst>
        </pc:spChg>
        <pc:spChg chg="mod">
          <ac:chgData name="Doerfler, Lena" userId="aeb0559f-200d-4a58-9e6d-125e1b704bf8" providerId="ADAL" clId="{2F42D7B1-B962-445E-8485-41980C3AF6B0}" dt="2023-03-01T14:18:53.492" v="8697" actId="790"/>
          <ac:spMkLst>
            <pc:docMk/>
            <pc:sldMk cId="3440386577" sldId="5420"/>
            <ac:spMk id="49" creationId="{DCDE3585-53B9-400F-A6E6-6D3051B8FE3E}"/>
          </ac:spMkLst>
        </pc:spChg>
        <pc:spChg chg="mod">
          <ac:chgData name="Doerfler, Lena" userId="aeb0559f-200d-4a58-9e6d-125e1b704bf8" providerId="ADAL" clId="{2F42D7B1-B962-445E-8485-41980C3AF6B0}" dt="2023-03-01T14:18:53.489" v="8694" actId="790"/>
          <ac:spMkLst>
            <pc:docMk/>
            <pc:sldMk cId="3440386577" sldId="5420"/>
            <ac:spMk id="50" creationId="{77D819D9-9ACA-43B9-9E35-63FEDEDBD01D}"/>
          </ac:spMkLst>
        </pc:spChg>
        <pc:spChg chg="mod">
          <ac:chgData name="Doerfler, Lena" userId="aeb0559f-200d-4a58-9e6d-125e1b704bf8" providerId="ADAL" clId="{2F42D7B1-B962-445E-8485-41980C3AF6B0}" dt="2023-03-01T14:18:53.493" v="8698" actId="790"/>
          <ac:spMkLst>
            <pc:docMk/>
            <pc:sldMk cId="3440386577" sldId="5420"/>
            <ac:spMk id="72" creationId="{0BF01852-F4AA-4E4E-82E2-F189C8308B6E}"/>
          </ac:spMkLst>
        </pc:spChg>
        <pc:spChg chg="mod">
          <ac:chgData name="Doerfler, Lena" userId="aeb0559f-200d-4a58-9e6d-125e1b704bf8" providerId="ADAL" clId="{2F42D7B1-B962-445E-8485-41980C3AF6B0}" dt="2023-03-01T14:18:53.489" v="8695" actId="790"/>
          <ac:spMkLst>
            <pc:docMk/>
            <pc:sldMk cId="3440386577" sldId="5420"/>
            <ac:spMk id="75" creationId="{86E4ABC5-D012-4113-86CA-45BAE3E7E9AA}"/>
          </ac:spMkLst>
        </pc:spChg>
        <pc:spChg chg="del mod">
          <ac:chgData name="Doerfler, Lena" userId="aeb0559f-200d-4a58-9e6d-125e1b704bf8" providerId="ADAL" clId="{2F42D7B1-B962-445E-8485-41980C3AF6B0}" dt="2023-04-05T14:56:03.646" v="11417" actId="478"/>
          <ac:spMkLst>
            <pc:docMk/>
            <pc:sldMk cId="3440386577" sldId="5420"/>
            <ac:spMk id="93" creationId="{4B8B34FB-BE0A-41CC-9ED7-8A4D955358B2}"/>
          </ac:spMkLst>
        </pc:spChg>
        <pc:spChg chg="del mod">
          <ac:chgData name="Doerfler, Lena" userId="aeb0559f-200d-4a58-9e6d-125e1b704bf8" providerId="ADAL" clId="{2F42D7B1-B962-445E-8485-41980C3AF6B0}" dt="2023-04-05T14:56:03.646" v="11417" actId="478"/>
          <ac:spMkLst>
            <pc:docMk/>
            <pc:sldMk cId="3440386577" sldId="5420"/>
            <ac:spMk id="95" creationId="{0F684D99-F0A9-4CD5-BFF8-58063E153CF8}"/>
          </ac:spMkLst>
        </pc:spChg>
        <pc:spChg chg="del mod">
          <ac:chgData name="Doerfler, Lena" userId="aeb0559f-200d-4a58-9e6d-125e1b704bf8" providerId="ADAL" clId="{2F42D7B1-B962-445E-8485-41980C3AF6B0}" dt="2023-04-05T14:56:03.646" v="11417" actId="478"/>
          <ac:spMkLst>
            <pc:docMk/>
            <pc:sldMk cId="3440386577" sldId="5420"/>
            <ac:spMk id="101" creationId="{7A5202D9-447D-496D-9515-1DECDFE8A56B}"/>
          </ac:spMkLst>
        </pc:spChg>
        <pc:spChg chg="del mod">
          <ac:chgData name="Doerfler, Lena" userId="aeb0559f-200d-4a58-9e6d-125e1b704bf8" providerId="ADAL" clId="{2F42D7B1-B962-445E-8485-41980C3AF6B0}" dt="2023-04-05T14:56:03.646" v="11417" actId="478"/>
          <ac:spMkLst>
            <pc:docMk/>
            <pc:sldMk cId="3440386577" sldId="5420"/>
            <ac:spMk id="102" creationId="{81D11542-C8C9-438B-93D2-CFD2AB6D4FDF}"/>
          </ac:spMkLst>
        </pc:spChg>
        <pc:grpChg chg="mod">
          <ac:chgData name="Doerfler, Lena" userId="aeb0559f-200d-4a58-9e6d-125e1b704bf8" providerId="ADAL" clId="{2F42D7B1-B962-445E-8485-41980C3AF6B0}" dt="2023-03-01T14:16:23.775" v="7813"/>
          <ac:grpSpMkLst>
            <pc:docMk/>
            <pc:sldMk cId="3440386577" sldId="5420"/>
            <ac:grpSpMk id="6" creationId="{A4900D07-B183-415B-8C9F-9D663FD11449}"/>
          </ac:grpSpMkLst>
        </pc:grpChg>
        <pc:grpChg chg="mod">
          <ac:chgData name="Doerfler, Lena" userId="aeb0559f-200d-4a58-9e6d-125e1b704bf8" providerId="ADAL" clId="{2F42D7B1-B962-445E-8485-41980C3AF6B0}" dt="2023-03-01T14:16:23.862" v="7967"/>
          <ac:grpSpMkLst>
            <pc:docMk/>
            <pc:sldMk cId="3440386577" sldId="5420"/>
            <ac:grpSpMk id="27" creationId="{A151701C-BDB6-31CC-299D-27D87087040E}"/>
          </ac:grpSpMkLst>
        </pc:grpChg>
        <pc:grpChg chg="mod">
          <ac:chgData name="Doerfler, Lena" userId="aeb0559f-200d-4a58-9e6d-125e1b704bf8" providerId="ADAL" clId="{2F42D7B1-B962-445E-8485-41980C3AF6B0}" dt="2023-03-01T14:16:23.802" v="7869"/>
          <ac:grpSpMkLst>
            <pc:docMk/>
            <pc:sldMk cId="3440386577" sldId="5420"/>
            <ac:grpSpMk id="70" creationId="{319DBD7E-51CE-4C66-A921-8DDF65363565}"/>
          </ac:grpSpMkLst>
        </pc:grpChg>
        <pc:graphicFrameChg chg="add mod ord modVis replST">
          <ac:chgData name="Doerfler, Lena" userId="aeb0559f-200d-4a58-9e6d-125e1b704bf8" providerId="ADAL" clId="{2F42D7B1-B962-445E-8485-41980C3AF6B0}" dt="2023-03-02T07:32:34.855" v="9920"/>
          <ac:graphicFrameMkLst>
            <pc:docMk/>
            <pc:sldMk cId="3440386577" sldId="5420"/>
            <ac:graphicFrameMk id="8" creationId="{7019CC40-1FE3-0BB6-5C5C-9C655AD518A8}"/>
          </ac:graphicFrameMkLst>
        </pc:graphicFrameChg>
        <pc:picChg chg="mod">
          <ac:chgData name="Doerfler, Lena" userId="aeb0559f-200d-4a58-9e6d-125e1b704bf8" providerId="ADAL" clId="{2F42D7B1-B962-445E-8485-41980C3AF6B0}" dt="2023-03-01T14:16:23.840" v="7934"/>
          <ac:picMkLst>
            <pc:docMk/>
            <pc:sldMk cId="3440386577" sldId="5420"/>
            <ac:picMk id="21" creationId="{CE5F9446-5776-D157-349A-C5FB7A40701A}"/>
          </ac:picMkLst>
        </pc:picChg>
        <pc:picChg chg="mod">
          <ac:chgData name="Doerfler, Lena" userId="aeb0559f-200d-4a58-9e6d-125e1b704bf8" providerId="ADAL" clId="{2F42D7B1-B962-445E-8485-41980C3AF6B0}" dt="2023-03-01T14:16:23.848" v="7945"/>
          <ac:picMkLst>
            <pc:docMk/>
            <pc:sldMk cId="3440386577" sldId="5420"/>
            <ac:picMk id="25" creationId="{43266FE7-07B3-C1BB-894E-5E66127D0B1E}"/>
          </ac:picMkLst>
        </pc:picChg>
        <pc:picChg chg="mod">
          <ac:chgData name="Doerfler, Lena" userId="aeb0559f-200d-4a58-9e6d-125e1b704bf8" providerId="ADAL" clId="{2F42D7B1-B962-445E-8485-41980C3AF6B0}" dt="2023-03-01T14:16:23.856" v="7956"/>
          <ac:picMkLst>
            <pc:docMk/>
            <pc:sldMk cId="3440386577" sldId="5420"/>
            <ac:picMk id="26" creationId="{3D2C0374-021E-B508-6A33-BFBF293D1616}"/>
          </ac:picMkLst>
        </pc:picChg>
        <pc:picChg chg="mod">
          <ac:chgData name="Doerfler, Lena" userId="aeb0559f-200d-4a58-9e6d-125e1b704bf8" providerId="ADAL" clId="{2F42D7B1-B962-445E-8485-41980C3AF6B0}" dt="2023-03-01T14:16:23.861" v="7966"/>
          <ac:picMkLst>
            <pc:docMk/>
            <pc:sldMk cId="3440386577" sldId="5420"/>
            <ac:picMk id="28" creationId="{D067FBC3-5402-282D-45D0-668A712B2E02}"/>
          </ac:picMkLst>
        </pc:picChg>
        <pc:picChg chg="mod">
          <ac:chgData name="Doerfler, Lena" userId="aeb0559f-200d-4a58-9e6d-125e1b704bf8" providerId="ADAL" clId="{2F42D7B1-B962-445E-8485-41980C3AF6B0}" dt="2023-03-01T14:16:23.825" v="7912"/>
          <ac:picMkLst>
            <pc:docMk/>
            <pc:sldMk cId="3440386577" sldId="5420"/>
            <ac:picMk id="35" creationId="{DD60EB35-9BB9-45DD-8BF4-0BF6AA36BA11}"/>
          </ac:picMkLst>
        </pc:picChg>
        <pc:picChg chg="mod">
          <ac:chgData name="Doerfler, Lena" userId="aeb0559f-200d-4a58-9e6d-125e1b704bf8" providerId="ADAL" clId="{2F42D7B1-B962-445E-8485-41980C3AF6B0}" dt="2023-03-01T14:16:23.832" v="7923"/>
          <ac:picMkLst>
            <pc:docMk/>
            <pc:sldMk cId="3440386577" sldId="5420"/>
            <ac:picMk id="36" creationId="{D62DAAFC-2903-4D94-9DC7-200771D7C98A}"/>
          </ac:picMkLst>
        </pc:picChg>
        <pc:picChg chg="mod">
          <ac:chgData name="Doerfler, Lena" userId="aeb0559f-200d-4a58-9e6d-125e1b704bf8" providerId="ADAL" clId="{2F42D7B1-B962-445E-8485-41980C3AF6B0}" dt="2023-03-01T14:16:23.861" v="7966"/>
          <ac:picMkLst>
            <pc:docMk/>
            <pc:sldMk cId="3440386577" sldId="5420"/>
            <ac:picMk id="51" creationId="{99CBA120-BC5B-6386-281C-F4EC4AB831F8}"/>
          </ac:picMkLst>
        </pc:picChg>
        <pc:cxnChg chg="mod">
          <ac:chgData name="Doerfler, Lena" userId="aeb0559f-200d-4a58-9e6d-125e1b704bf8" providerId="ADAL" clId="{2F42D7B1-B962-445E-8485-41980C3AF6B0}" dt="2023-03-01T14:16:23.775" v="7813"/>
          <ac:cxnSpMkLst>
            <pc:docMk/>
            <pc:sldMk cId="3440386577" sldId="5420"/>
            <ac:cxnSpMk id="38" creationId="{752F9CE5-C7F2-46EE-8262-0A9C453A8662}"/>
          </ac:cxnSpMkLst>
        </pc:cxnChg>
        <pc:cxnChg chg="mod">
          <ac:chgData name="Doerfler, Lena" userId="aeb0559f-200d-4a58-9e6d-125e1b704bf8" providerId="ADAL" clId="{2F42D7B1-B962-445E-8485-41980C3AF6B0}" dt="2023-03-01T14:16:23.802" v="7869"/>
          <ac:cxnSpMkLst>
            <pc:docMk/>
            <pc:sldMk cId="3440386577" sldId="5420"/>
            <ac:cxnSpMk id="71" creationId="{C4D49286-E860-4181-9B8A-EFC190750B04}"/>
          </ac:cxnSpMkLst>
        </pc:cxnChg>
        <pc:cxnChg chg="mod">
          <ac:chgData name="Doerfler, Lena" userId="aeb0559f-200d-4a58-9e6d-125e1b704bf8" providerId="ADAL" clId="{2F42D7B1-B962-445E-8485-41980C3AF6B0}" dt="2023-03-01T14:16:23.782" v="7829"/>
          <ac:cxnSpMkLst>
            <pc:docMk/>
            <pc:sldMk cId="3440386577" sldId="5420"/>
            <ac:cxnSpMk id="77" creationId="{4FEAE43D-A276-41C7-AB7D-3554192E7DBB}"/>
          </ac:cxnSpMkLst>
        </pc:cxnChg>
      </pc:sldChg>
      <pc:sldChg chg="addSp delSp modSp add mod ord modClrScheme chgLayout modNotes">
        <pc:chgData name="Doerfler, Lena" userId="aeb0559f-200d-4a58-9e6d-125e1b704bf8" providerId="ADAL" clId="{2F42D7B1-B962-445E-8485-41980C3AF6B0}" dt="2023-03-02T07:33:07.239" v="10070" actId="478"/>
        <pc:sldMkLst>
          <pc:docMk/>
          <pc:sldMk cId="1791943337" sldId="5421"/>
        </pc:sldMkLst>
        <pc:spChg chg="mod ord">
          <ac:chgData name="Doerfler, Lena" userId="aeb0559f-200d-4a58-9e6d-125e1b704bf8" providerId="ADAL" clId="{2F42D7B1-B962-445E-8485-41980C3AF6B0}" dt="2023-03-02T07:32:48.802" v="9954" actId="948"/>
          <ac:spMkLst>
            <pc:docMk/>
            <pc:sldMk cId="1791943337" sldId="5421"/>
            <ac:spMk id="2" creationId="{D1F591FE-778F-4B00-BDAD-D4EF15D17F41}"/>
          </ac:spMkLst>
        </pc:spChg>
        <pc:spChg chg="add mod ord">
          <ac:chgData name="Doerfler, Lena" userId="aeb0559f-200d-4a58-9e6d-125e1b704bf8" providerId="ADAL" clId="{2F42D7B1-B962-445E-8485-41980C3AF6B0}" dt="2023-03-02T07:32:48.233" v="9953"/>
          <ac:spMkLst>
            <pc:docMk/>
            <pc:sldMk cId="1791943337" sldId="5421"/>
            <ac:spMk id="3" creationId="{DE41558C-2DEB-9FA5-0898-A87F2D47F727}"/>
          </ac:spMkLst>
        </pc:spChg>
        <pc:spChg chg="del mod">
          <ac:chgData name="Doerfler, Lena" userId="aeb0559f-200d-4a58-9e6d-125e1b704bf8" providerId="ADAL" clId="{2F42D7B1-B962-445E-8485-41980C3AF6B0}" dt="2023-03-02T07:33:05.649" v="10069" actId="478"/>
          <ac:spMkLst>
            <pc:docMk/>
            <pc:sldMk cId="1791943337" sldId="5421"/>
            <ac:spMk id="4" creationId="{B7D3AAB9-5600-8200-036D-1A4E2AA82FA6}"/>
          </ac:spMkLst>
        </pc:spChg>
        <pc:spChg chg="add del mod ord">
          <ac:chgData name="Doerfler, Lena" userId="aeb0559f-200d-4a58-9e6d-125e1b704bf8" providerId="ADAL" clId="{2F42D7B1-B962-445E-8485-41980C3AF6B0}" dt="2023-03-02T07:33:07.239" v="10070" actId="478"/>
          <ac:spMkLst>
            <pc:docMk/>
            <pc:sldMk cId="1791943337" sldId="5421"/>
            <ac:spMk id="5" creationId="{51BCB42D-F32B-9545-0453-9E241754F683}"/>
          </ac:spMkLst>
        </pc:spChg>
        <pc:spChg chg="add del mod">
          <ac:chgData name="Doerfler, Lena" userId="aeb0559f-200d-4a58-9e6d-125e1b704bf8" providerId="ADAL" clId="{2F42D7B1-B962-445E-8485-41980C3AF6B0}" dt="2023-03-01T14:18:54.091" v="9115"/>
          <ac:spMkLst>
            <pc:docMk/>
            <pc:sldMk cId="1791943337" sldId="5421"/>
            <ac:spMk id="5" creationId="{AE807B4B-BC26-96E0-3D7F-B09E25091139}"/>
          </ac:spMkLst>
        </pc:spChg>
        <pc:spChg chg="add mod ord">
          <ac:chgData name="Doerfler, Lena" userId="aeb0559f-200d-4a58-9e6d-125e1b704bf8" providerId="ADAL" clId="{2F42D7B1-B962-445E-8485-41980C3AF6B0}" dt="2023-03-02T07:32:48.233" v="9953"/>
          <ac:spMkLst>
            <pc:docMk/>
            <pc:sldMk cId="1791943337" sldId="5421"/>
            <ac:spMk id="6" creationId="{5C9B9902-9D3E-070E-284C-9616DE7B0D5F}"/>
          </ac:spMkLst>
        </pc:spChg>
        <pc:spChg chg="add mod ord">
          <ac:chgData name="Doerfler, Lena" userId="aeb0559f-200d-4a58-9e6d-125e1b704bf8" providerId="ADAL" clId="{2F42D7B1-B962-445E-8485-41980C3AF6B0}" dt="2023-03-02T07:32:48.233" v="9953"/>
          <ac:spMkLst>
            <pc:docMk/>
            <pc:sldMk cId="1791943337" sldId="5421"/>
            <ac:spMk id="7" creationId="{0D604191-7580-6D44-65AC-7D8F5B4CA72E}"/>
          </ac:spMkLst>
        </pc:spChg>
        <pc:spChg chg="add del mod modVis">
          <ac:chgData name="Doerfler, Lena" userId="aeb0559f-200d-4a58-9e6d-125e1b704bf8" providerId="ADAL" clId="{2F42D7B1-B962-445E-8485-41980C3AF6B0}" dt="2023-03-01T14:18:55.108" v="9607"/>
          <ac:spMkLst>
            <pc:docMk/>
            <pc:sldMk cId="1791943337" sldId="5421"/>
            <ac:spMk id="9" creationId="{B094DB45-EA2D-B5C6-CC8C-EA5A2586A75B}"/>
          </ac:spMkLst>
        </pc:spChg>
        <pc:spChg chg="add mod ord">
          <ac:chgData name="Doerfler, Lena" userId="aeb0559f-200d-4a58-9e6d-125e1b704bf8" providerId="ADAL" clId="{2F42D7B1-B962-445E-8485-41980C3AF6B0}" dt="2023-03-02T07:33:02.615" v="10068" actId="20577"/>
          <ac:spMkLst>
            <pc:docMk/>
            <pc:sldMk cId="1791943337" sldId="5421"/>
            <ac:spMk id="9" creationId="{D73FD900-27B5-9838-C7B2-FF56C91E6D9A}"/>
          </ac:spMkLst>
        </pc:spChg>
        <pc:spChg chg="add del mod modVis">
          <ac:chgData name="Doerfler, Lena" userId="aeb0559f-200d-4a58-9e6d-125e1b704bf8" providerId="ADAL" clId="{2F42D7B1-B962-445E-8485-41980C3AF6B0}" dt="2023-03-02T07:32:48.854" v="9995"/>
          <ac:spMkLst>
            <pc:docMk/>
            <pc:sldMk cId="1791943337" sldId="5421"/>
            <ac:spMk id="10" creationId="{CAC05A91-82DD-63DE-1BDC-BA2C4E30713D}"/>
          </ac:spMkLst>
        </pc:spChg>
        <pc:spChg chg="mod">
          <ac:chgData name="Doerfler, Lena" userId="aeb0559f-200d-4a58-9e6d-125e1b704bf8" providerId="ADAL" clId="{2F42D7B1-B962-445E-8485-41980C3AF6B0}" dt="2023-03-01T14:18:53.508" v="8709" actId="790"/>
          <ac:spMkLst>
            <pc:docMk/>
            <pc:sldMk cId="1791943337" sldId="5421"/>
            <ac:spMk id="15" creationId="{1628817F-8C9F-19E6-4B34-B6C92924FD30}"/>
          </ac:spMkLst>
        </pc:spChg>
        <pc:spChg chg="mod">
          <ac:chgData name="Doerfler, Lena" userId="aeb0559f-200d-4a58-9e6d-125e1b704bf8" providerId="ADAL" clId="{2F42D7B1-B962-445E-8485-41980C3AF6B0}" dt="2023-03-01T14:18:53.509" v="8710" actId="790"/>
          <ac:spMkLst>
            <pc:docMk/>
            <pc:sldMk cId="1791943337" sldId="5421"/>
            <ac:spMk id="17" creationId="{02F7D492-C8A1-D118-65EA-E67CAEDFEB31}"/>
          </ac:spMkLst>
        </pc:spChg>
        <pc:spChg chg="mod">
          <ac:chgData name="Doerfler, Lena" userId="aeb0559f-200d-4a58-9e6d-125e1b704bf8" providerId="ADAL" clId="{2F42D7B1-B962-445E-8485-41980C3AF6B0}" dt="2023-03-01T14:18:53.510" v="8711" actId="790"/>
          <ac:spMkLst>
            <pc:docMk/>
            <pc:sldMk cId="1791943337" sldId="5421"/>
            <ac:spMk id="21" creationId="{5D5417AD-FCE5-AAC9-89D7-C9112D4D6A98}"/>
          </ac:spMkLst>
        </pc:spChg>
        <pc:spChg chg="mod">
          <ac:chgData name="Doerfler, Lena" userId="aeb0559f-200d-4a58-9e6d-125e1b704bf8" providerId="ADAL" clId="{2F42D7B1-B962-445E-8485-41980C3AF6B0}" dt="2023-03-01T14:18:53.511" v="8712" actId="790"/>
          <ac:spMkLst>
            <pc:docMk/>
            <pc:sldMk cId="1791943337" sldId="5421"/>
            <ac:spMk id="25" creationId="{95076389-98FA-F04A-A72E-FCEFDCE87DC1}"/>
          </ac:spMkLst>
        </pc:spChg>
        <pc:graphicFrameChg chg="mod">
          <ac:chgData name="Doerfler, Lena" userId="aeb0559f-200d-4a58-9e6d-125e1b704bf8" providerId="ADAL" clId="{2F42D7B1-B962-445E-8485-41980C3AF6B0}" dt="2023-03-02T07:32:48.856" v="9997"/>
          <ac:graphicFrameMkLst>
            <pc:docMk/>
            <pc:sldMk cId="1791943337" sldId="5421"/>
            <ac:graphicFrameMk id="8" creationId="{E12F0601-C808-FAE1-968E-C7222DE104F2}"/>
          </ac:graphicFrameMkLst>
        </pc:graphicFrameChg>
      </pc:sldChg>
      <pc:sldChg chg="addSp delSp modSp add mod ord modClrScheme chgLayout modNotes">
        <pc:chgData name="Doerfler, Lena" userId="aeb0559f-200d-4a58-9e6d-125e1b704bf8" providerId="ADAL" clId="{2F42D7B1-B962-445E-8485-41980C3AF6B0}" dt="2023-04-06T12:08:09.721" v="11438"/>
        <pc:sldMkLst>
          <pc:docMk/>
          <pc:sldMk cId="1298728995" sldId="5422"/>
        </pc:sldMkLst>
        <pc:spChg chg="add mod ord">
          <ac:chgData name="Doerfler, Lena" userId="aeb0559f-200d-4a58-9e6d-125e1b704bf8" providerId="ADAL" clId="{2F42D7B1-B962-445E-8485-41980C3AF6B0}" dt="2023-03-02T07:33:14.853" v="10072"/>
          <ac:spMkLst>
            <pc:docMk/>
            <pc:sldMk cId="1298728995" sldId="5422"/>
            <ac:spMk id="2" creationId="{CB10AC04-8BDA-D80D-C917-01C6D44343C5}"/>
          </ac:spMkLst>
        </pc:spChg>
        <pc:spChg chg="add mod">
          <ac:chgData name="Doerfler, Lena" userId="aeb0559f-200d-4a58-9e6d-125e1b704bf8" providerId="ADAL" clId="{2F42D7B1-B962-445E-8485-41980C3AF6B0}" dt="2023-04-05T14:55:52.828" v="11416" actId="12789"/>
          <ac:spMkLst>
            <pc:docMk/>
            <pc:sldMk cId="1298728995" sldId="5422"/>
            <ac:spMk id="3" creationId="{4D278B39-C751-0EFB-512B-D5F7C8C6C0DB}"/>
          </ac:spMkLst>
        </pc:spChg>
        <pc:spChg chg="add del mod ord">
          <ac:chgData name="Doerfler, Lena" userId="aeb0559f-200d-4a58-9e6d-125e1b704bf8" providerId="ADAL" clId="{2F42D7B1-B962-445E-8485-41980C3AF6B0}" dt="2023-03-02T07:33:29.771" v="10165" actId="478"/>
          <ac:spMkLst>
            <pc:docMk/>
            <pc:sldMk cId="1298728995" sldId="5422"/>
            <ac:spMk id="3" creationId="{CDB368A9-3F6E-4A7A-666B-4CB244B44496}"/>
          </ac:spMkLst>
        </pc:spChg>
        <pc:spChg chg="add del mod">
          <ac:chgData name="Doerfler, Lena" userId="aeb0559f-200d-4a58-9e6d-125e1b704bf8" providerId="ADAL" clId="{2F42D7B1-B962-445E-8485-41980C3AF6B0}" dt="2023-03-01T14:18:54.098" v="9120"/>
          <ac:spMkLst>
            <pc:docMk/>
            <pc:sldMk cId="1298728995" sldId="5422"/>
            <ac:spMk id="3" creationId="{F1A1BB54-3B82-2C09-14C7-EE0E764A188E}"/>
          </ac:spMkLst>
        </pc:spChg>
        <pc:spChg chg="add mod ord">
          <ac:chgData name="Doerfler, Lena" userId="aeb0559f-200d-4a58-9e6d-125e1b704bf8" providerId="ADAL" clId="{2F42D7B1-B962-445E-8485-41980C3AF6B0}" dt="2023-03-02T07:33:14.853" v="10072"/>
          <ac:spMkLst>
            <pc:docMk/>
            <pc:sldMk cId="1298728995" sldId="5422"/>
            <ac:spMk id="4" creationId="{66C6B3D3-0945-9BB8-838E-C68F8AC4AA29}"/>
          </ac:spMkLst>
        </pc:spChg>
        <pc:spChg chg="add mod ord">
          <ac:chgData name="Doerfler, Lena" userId="aeb0559f-200d-4a58-9e6d-125e1b704bf8" providerId="ADAL" clId="{2F42D7B1-B962-445E-8485-41980C3AF6B0}" dt="2023-03-02T07:33:14.853" v="10072"/>
          <ac:spMkLst>
            <pc:docMk/>
            <pc:sldMk cId="1298728995" sldId="5422"/>
            <ac:spMk id="5" creationId="{FB692C95-8C75-0B7E-6783-DEEECB79D2C2}"/>
          </ac:spMkLst>
        </pc:spChg>
        <pc:spChg chg="add del mod modVis">
          <ac:chgData name="Doerfler, Lena" userId="aeb0559f-200d-4a58-9e6d-125e1b704bf8" providerId="ADAL" clId="{2F42D7B1-B962-445E-8485-41980C3AF6B0}" dt="2023-03-01T14:18:55.148" v="9633"/>
          <ac:spMkLst>
            <pc:docMk/>
            <pc:sldMk cId="1298728995" sldId="5422"/>
            <ac:spMk id="7" creationId="{2765AC6B-D0AE-F50B-610B-7A11155C4716}"/>
          </ac:spMkLst>
        </pc:spChg>
        <pc:spChg chg="add mod ord">
          <ac:chgData name="Doerfler, Lena" userId="aeb0559f-200d-4a58-9e6d-125e1b704bf8" providerId="ADAL" clId="{2F42D7B1-B962-445E-8485-41980C3AF6B0}" dt="2023-03-02T07:33:25.756" v="10163" actId="20577"/>
          <ac:spMkLst>
            <pc:docMk/>
            <pc:sldMk cId="1298728995" sldId="5422"/>
            <ac:spMk id="7" creationId="{A6D0B519-DF8C-A822-A53B-8094FDB9643F}"/>
          </ac:spMkLst>
        </pc:spChg>
        <pc:spChg chg="add mod">
          <ac:chgData name="Doerfler, Lena" userId="aeb0559f-200d-4a58-9e6d-125e1b704bf8" providerId="ADAL" clId="{2F42D7B1-B962-445E-8485-41980C3AF6B0}" dt="2023-04-05T14:55:52.828" v="11416" actId="12789"/>
          <ac:spMkLst>
            <pc:docMk/>
            <pc:sldMk cId="1298728995" sldId="5422"/>
            <ac:spMk id="9" creationId="{E57FFCFC-0791-B386-AA26-AD49A07D5863}"/>
          </ac:spMkLst>
        </pc:spChg>
        <pc:spChg chg="del mod">
          <ac:chgData name="Doerfler, Lena" userId="aeb0559f-200d-4a58-9e6d-125e1b704bf8" providerId="ADAL" clId="{2F42D7B1-B962-445E-8485-41980C3AF6B0}" dt="2023-03-02T07:33:28.644" v="10164" actId="478"/>
          <ac:spMkLst>
            <pc:docMk/>
            <pc:sldMk cId="1298728995" sldId="5422"/>
            <ac:spMk id="9" creationId="{F9E7E03D-88EB-344B-A0C5-B026CEBB1E5E}"/>
          </ac:spMkLst>
        </pc:spChg>
        <pc:spChg chg="add mod">
          <ac:chgData name="Doerfler, Lena" userId="aeb0559f-200d-4a58-9e6d-125e1b704bf8" providerId="ADAL" clId="{2F42D7B1-B962-445E-8485-41980C3AF6B0}" dt="2023-04-05T14:55:52.828" v="11416" actId="12789"/>
          <ac:spMkLst>
            <pc:docMk/>
            <pc:sldMk cId="1298728995" sldId="5422"/>
            <ac:spMk id="11" creationId="{43471D71-5616-C205-7B59-B032A69EA06F}"/>
          </ac:spMkLst>
        </pc:spChg>
        <pc:spChg chg="add del mod modVis">
          <ac:chgData name="Doerfler, Lena" userId="aeb0559f-200d-4a58-9e6d-125e1b704bf8" providerId="ADAL" clId="{2F42D7B1-B962-445E-8485-41980C3AF6B0}" dt="2023-03-02T07:33:15.472" v="10114"/>
          <ac:spMkLst>
            <pc:docMk/>
            <pc:sldMk cId="1298728995" sldId="5422"/>
            <ac:spMk id="11" creationId="{9971B588-D4A5-E29B-C125-86F68BBA6582}"/>
          </ac:spMkLst>
        </pc:spChg>
        <pc:spChg chg="add mod">
          <ac:chgData name="Doerfler, Lena" userId="aeb0559f-200d-4a58-9e6d-125e1b704bf8" providerId="ADAL" clId="{2F42D7B1-B962-445E-8485-41980C3AF6B0}" dt="2023-04-06T12:07:36.926" v="11432" actId="11530"/>
          <ac:spMkLst>
            <pc:docMk/>
            <pc:sldMk cId="1298728995" sldId="5422"/>
            <ac:spMk id="13" creationId="{4F03C694-8C53-DA9B-C84D-48FDEA162B9D}"/>
          </ac:spMkLst>
        </pc:spChg>
        <pc:spChg chg="add del mod">
          <ac:chgData name="Doerfler, Lena" userId="aeb0559f-200d-4a58-9e6d-125e1b704bf8" providerId="ADAL" clId="{2F42D7B1-B962-445E-8485-41980C3AF6B0}" dt="2023-04-06T12:08:04.397" v="11436" actId="11529"/>
          <ac:spMkLst>
            <pc:docMk/>
            <pc:sldMk cId="1298728995" sldId="5422"/>
            <ac:spMk id="14" creationId="{29FD33A8-4E3F-EA65-23A6-3C7F76F6439D}"/>
          </ac:spMkLst>
        </pc:spChg>
        <pc:spChg chg="add del mod">
          <ac:chgData name="Doerfler, Lena" userId="aeb0559f-200d-4a58-9e6d-125e1b704bf8" providerId="ADAL" clId="{2F42D7B1-B962-445E-8485-41980C3AF6B0}" dt="2023-04-06T12:08:09.721" v="11438"/>
          <ac:spMkLst>
            <pc:docMk/>
            <pc:sldMk cId="1298728995" sldId="5422"/>
            <ac:spMk id="15" creationId="{E9FDED2D-C1C6-6205-C8BC-55E01A17B927}"/>
          </ac:spMkLst>
        </pc:spChg>
        <pc:spChg chg="mod ord">
          <ac:chgData name="Doerfler, Lena" userId="aeb0559f-200d-4a58-9e6d-125e1b704bf8" providerId="ADAL" clId="{2F42D7B1-B962-445E-8485-41980C3AF6B0}" dt="2023-03-02T07:33:15.422" v="10073" actId="948"/>
          <ac:spMkLst>
            <pc:docMk/>
            <pc:sldMk cId="1298728995" sldId="5422"/>
            <ac:spMk id="16" creationId="{D83076B2-99C8-49A0-8F39-42B899B48F92}"/>
          </ac:spMkLst>
        </pc:spChg>
        <pc:spChg chg="mod">
          <ac:chgData name="Doerfler, Lena" userId="aeb0559f-200d-4a58-9e6d-125e1b704bf8" providerId="ADAL" clId="{2F42D7B1-B962-445E-8485-41980C3AF6B0}" dt="2023-03-01T14:18:53.535" v="8732" actId="790"/>
          <ac:spMkLst>
            <pc:docMk/>
            <pc:sldMk cId="1298728995" sldId="5422"/>
            <ac:spMk id="30" creationId="{5B721ECF-3C7B-491B-8B3E-9F3D81B1069A}"/>
          </ac:spMkLst>
        </pc:spChg>
        <pc:spChg chg="mod">
          <ac:chgData name="Doerfler, Lena" userId="aeb0559f-200d-4a58-9e6d-125e1b704bf8" providerId="ADAL" clId="{2F42D7B1-B962-445E-8485-41980C3AF6B0}" dt="2023-03-01T14:18:53.529" v="8727" actId="790"/>
          <ac:spMkLst>
            <pc:docMk/>
            <pc:sldMk cId="1298728995" sldId="5422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3-01T14:18:53.531" v="8728" actId="790"/>
          <ac:spMkLst>
            <pc:docMk/>
            <pc:sldMk cId="1298728995" sldId="5422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3-01T14:18:53.532" v="8729" actId="790"/>
          <ac:spMkLst>
            <pc:docMk/>
            <pc:sldMk cId="1298728995" sldId="5422"/>
            <ac:spMk id="48" creationId="{824CA2A5-3CDE-4BFB-BE42-7943336893D4}"/>
          </ac:spMkLst>
        </pc:spChg>
        <pc:spChg chg="mod">
          <ac:chgData name="Doerfler, Lena" userId="aeb0559f-200d-4a58-9e6d-125e1b704bf8" providerId="ADAL" clId="{2F42D7B1-B962-445E-8485-41980C3AF6B0}" dt="2023-03-01T14:18:53.536" v="8733" actId="790"/>
          <ac:spMkLst>
            <pc:docMk/>
            <pc:sldMk cId="1298728995" sldId="5422"/>
            <ac:spMk id="49" creationId="{DCDE3585-53B9-400F-A6E6-6D3051B8FE3E}"/>
          </ac:spMkLst>
        </pc:spChg>
        <pc:spChg chg="mod">
          <ac:chgData name="Doerfler, Lena" userId="aeb0559f-200d-4a58-9e6d-125e1b704bf8" providerId="ADAL" clId="{2F42D7B1-B962-445E-8485-41980C3AF6B0}" dt="2023-03-01T14:18:53.533" v="8730" actId="790"/>
          <ac:spMkLst>
            <pc:docMk/>
            <pc:sldMk cId="1298728995" sldId="5422"/>
            <ac:spMk id="50" creationId="{77D819D9-9ACA-43B9-9E35-63FEDEDBD01D}"/>
          </ac:spMkLst>
        </pc:spChg>
        <pc:spChg chg="mod">
          <ac:chgData name="Doerfler, Lena" userId="aeb0559f-200d-4a58-9e6d-125e1b704bf8" providerId="ADAL" clId="{2F42D7B1-B962-445E-8485-41980C3AF6B0}" dt="2023-03-01T14:18:53.540" v="8736" actId="790"/>
          <ac:spMkLst>
            <pc:docMk/>
            <pc:sldMk cId="1298728995" sldId="5422"/>
            <ac:spMk id="52" creationId="{51AF0FC1-664A-4D6B-AB55-4A6B79A28B8D}"/>
          </ac:spMkLst>
        </pc:spChg>
        <pc:spChg chg="mod">
          <ac:chgData name="Doerfler, Lena" userId="aeb0559f-200d-4a58-9e6d-125e1b704bf8" providerId="ADAL" clId="{2F42D7B1-B962-445E-8485-41980C3AF6B0}" dt="2023-04-05T14:55:52.828" v="11416" actId="12789"/>
          <ac:spMkLst>
            <pc:docMk/>
            <pc:sldMk cId="1298728995" sldId="5422"/>
            <ac:spMk id="53" creationId="{E84F1484-ADCE-4551-88CB-CA141074ED40}"/>
          </ac:spMkLst>
        </pc:spChg>
        <pc:spChg chg="mod">
          <ac:chgData name="Doerfler, Lena" userId="aeb0559f-200d-4a58-9e6d-125e1b704bf8" providerId="ADAL" clId="{2F42D7B1-B962-445E-8485-41980C3AF6B0}" dt="2023-03-01T14:18:53.538" v="8734" actId="790"/>
          <ac:spMkLst>
            <pc:docMk/>
            <pc:sldMk cId="1298728995" sldId="5422"/>
            <ac:spMk id="72" creationId="{0BF01852-F4AA-4E4E-82E2-F189C8308B6E}"/>
          </ac:spMkLst>
        </pc:spChg>
        <pc:spChg chg="mod">
          <ac:chgData name="Doerfler, Lena" userId="aeb0559f-200d-4a58-9e6d-125e1b704bf8" providerId="ADAL" clId="{2F42D7B1-B962-445E-8485-41980C3AF6B0}" dt="2023-03-01T14:18:53.534" v="8731" actId="790"/>
          <ac:spMkLst>
            <pc:docMk/>
            <pc:sldMk cId="1298728995" sldId="5422"/>
            <ac:spMk id="75" creationId="{86E4ABC5-D012-4113-86CA-45BAE3E7E9AA}"/>
          </ac:spMkLst>
        </pc:spChg>
        <pc:spChg chg="mod">
          <ac:chgData name="Doerfler, Lena" userId="aeb0559f-200d-4a58-9e6d-125e1b704bf8" providerId="ADAL" clId="{2F42D7B1-B962-445E-8485-41980C3AF6B0}" dt="2023-03-01T14:18:53.541" v="8737" actId="790"/>
          <ac:spMkLst>
            <pc:docMk/>
            <pc:sldMk cId="1298728995" sldId="5422"/>
            <ac:spMk id="86" creationId="{46CAB518-9482-4C59-BE50-3C13FAA66C3B}"/>
          </ac:spMkLst>
        </pc:spChg>
        <pc:spChg chg="mod">
          <ac:chgData name="Doerfler, Lena" userId="aeb0559f-200d-4a58-9e6d-125e1b704bf8" providerId="ADAL" clId="{2F42D7B1-B962-445E-8485-41980C3AF6B0}" dt="2023-03-01T14:18:53.543" v="8738" actId="790"/>
          <ac:spMkLst>
            <pc:docMk/>
            <pc:sldMk cId="1298728995" sldId="5422"/>
            <ac:spMk id="89" creationId="{2D96F1B3-013E-F5C7-67CB-D5AF7D89CBAA}"/>
          </ac:spMkLst>
        </pc:spChg>
        <pc:spChg chg="del mod">
          <ac:chgData name="Doerfler, Lena" userId="aeb0559f-200d-4a58-9e6d-125e1b704bf8" providerId="ADAL" clId="{2F42D7B1-B962-445E-8485-41980C3AF6B0}" dt="2023-04-05T14:53:28.296" v="11373" actId="478"/>
          <ac:spMkLst>
            <pc:docMk/>
            <pc:sldMk cId="1298728995" sldId="5422"/>
            <ac:spMk id="93" creationId="{4B8B34FB-BE0A-41CC-9ED7-8A4D955358B2}"/>
          </ac:spMkLst>
        </pc:spChg>
        <pc:spChg chg="del mod">
          <ac:chgData name="Doerfler, Lena" userId="aeb0559f-200d-4a58-9e6d-125e1b704bf8" providerId="ADAL" clId="{2F42D7B1-B962-445E-8485-41980C3AF6B0}" dt="2023-04-05T14:53:29.837" v="11375" actId="478"/>
          <ac:spMkLst>
            <pc:docMk/>
            <pc:sldMk cId="1298728995" sldId="5422"/>
            <ac:spMk id="95" creationId="{0F684D99-F0A9-4CD5-BFF8-58063E153CF8}"/>
          </ac:spMkLst>
        </pc:spChg>
        <pc:spChg chg="del mod">
          <ac:chgData name="Doerfler, Lena" userId="aeb0559f-200d-4a58-9e6d-125e1b704bf8" providerId="ADAL" clId="{2F42D7B1-B962-445E-8485-41980C3AF6B0}" dt="2023-04-05T14:52:53.646" v="11354" actId="478"/>
          <ac:spMkLst>
            <pc:docMk/>
            <pc:sldMk cId="1298728995" sldId="5422"/>
            <ac:spMk id="101" creationId="{7A5202D9-447D-496D-9515-1DECDFE8A56B}"/>
          </ac:spMkLst>
        </pc:spChg>
        <pc:spChg chg="del mod">
          <ac:chgData name="Doerfler, Lena" userId="aeb0559f-200d-4a58-9e6d-125e1b704bf8" providerId="ADAL" clId="{2F42D7B1-B962-445E-8485-41980C3AF6B0}" dt="2023-04-05T14:53:31.073" v="11376" actId="478"/>
          <ac:spMkLst>
            <pc:docMk/>
            <pc:sldMk cId="1298728995" sldId="5422"/>
            <ac:spMk id="102" creationId="{81D11542-C8C9-438B-93D2-CFD2AB6D4FDF}"/>
          </ac:spMkLst>
        </pc:spChg>
        <pc:grpChg chg="mod">
          <ac:chgData name="Doerfler, Lena" userId="aeb0559f-200d-4a58-9e6d-125e1b704bf8" providerId="ADAL" clId="{2F42D7B1-B962-445E-8485-41980C3AF6B0}" dt="2023-03-01T14:16:25.246" v="8054"/>
          <ac:grpSpMkLst>
            <pc:docMk/>
            <pc:sldMk cId="1298728995" sldId="5422"/>
            <ac:grpSpMk id="6" creationId="{A4900D07-B183-415B-8C9F-9D663FD11449}"/>
          </ac:grpSpMkLst>
        </pc:grpChg>
        <pc:grpChg chg="mod">
          <ac:chgData name="Doerfler, Lena" userId="aeb0559f-200d-4a58-9e6d-125e1b704bf8" providerId="ADAL" clId="{2F42D7B1-B962-445E-8485-41980C3AF6B0}" dt="2023-03-01T14:16:25.286" v="8134"/>
          <ac:grpSpMkLst>
            <pc:docMk/>
            <pc:sldMk cId="1298728995" sldId="5422"/>
            <ac:grpSpMk id="8" creationId="{F5F89834-C6DD-460D-9F12-D66F74B1F6D0}"/>
          </ac:grpSpMkLst>
        </pc:grpChg>
        <pc:grpChg chg="mod">
          <ac:chgData name="Doerfler, Lena" userId="aeb0559f-200d-4a58-9e6d-125e1b704bf8" providerId="ADAL" clId="{2F42D7B1-B962-445E-8485-41980C3AF6B0}" dt="2023-03-01T14:16:25.362" v="8256"/>
          <ac:grpSpMkLst>
            <pc:docMk/>
            <pc:sldMk cId="1298728995" sldId="5422"/>
            <ac:grpSpMk id="27" creationId="{A151701C-BDB6-31CC-299D-27D87087040E}"/>
          </ac:grpSpMkLst>
        </pc:grpChg>
        <pc:grpChg chg="mod">
          <ac:chgData name="Doerfler, Lena" userId="aeb0559f-200d-4a58-9e6d-125e1b704bf8" providerId="ADAL" clId="{2F42D7B1-B962-445E-8485-41980C3AF6B0}" dt="2023-03-01T14:16:25.274" v="8110"/>
          <ac:grpSpMkLst>
            <pc:docMk/>
            <pc:sldMk cId="1298728995" sldId="5422"/>
            <ac:grpSpMk id="70" creationId="{319DBD7E-51CE-4C66-A921-8DDF65363565}"/>
          </ac:grpSpMkLst>
        </pc:grpChg>
        <pc:graphicFrameChg chg="add mod ord modVis replST">
          <ac:chgData name="Doerfler, Lena" userId="aeb0559f-200d-4a58-9e6d-125e1b704bf8" providerId="ADAL" clId="{2F42D7B1-B962-445E-8485-41980C3AF6B0}" dt="2023-03-02T07:33:15.474" v="10116"/>
          <ac:graphicFrameMkLst>
            <pc:docMk/>
            <pc:sldMk cId="1298728995" sldId="5422"/>
            <ac:graphicFrameMk id="10" creationId="{386C3438-5863-BD08-01B4-0EA9A349AA13}"/>
          </ac:graphicFrameMkLst>
        </pc:graphicFrameChg>
        <pc:picChg chg="add del mod ord">
          <ac:chgData name="Doerfler, Lena" userId="aeb0559f-200d-4a58-9e6d-125e1b704bf8" providerId="ADAL" clId="{2F42D7B1-B962-445E-8485-41980C3AF6B0}" dt="2023-03-13T12:51:45.533" v="11074" actId="478"/>
          <ac:picMkLst>
            <pc:docMk/>
            <pc:sldMk cId="1298728995" sldId="5422"/>
            <ac:picMk id="9" creationId="{FC5E3C74-0586-E2A2-4D03-4DF383E1F74B}"/>
          </ac:picMkLst>
        </pc:picChg>
        <pc:picChg chg="add mod">
          <ac:chgData name="Doerfler, Lena" userId="aeb0559f-200d-4a58-9e6d-125e1b704bf8" providerId="ADAL" clId="{2F42D7B1-B962-445E-8485-41980C3AF6B0}" dt="2023-03-13T12:52:22.272" v="11080" actId="1076"/>
          <ac:picMkLst>
            <pc:docMk/>
            <pc:sldMk cId="1298728995" sldId="5422"/>
            <ac:picMk id="12" creationId="{46C8A379-CAC4-3C26-5830-9A542F6BBC9E}"/>
          </ac:picMkLst>
        </pc:picChg>
        <pc:picChg chg="mod">
          <ac:chgData name="Doerfler, Lena" userId="aeb0559f-200d-4a58-9e6d-125e1b704bf8" providerId="ADAL" clId="{2F42D7B1-B962-445E-8485-41980C3AF6B0}" dt="2023-03-01T14:16:25.338" v="8223"/>
          <ac:picMkLst>
            <pc:docMk/>
            <pc:sldMk cId="1298728995" sldId="5422"/>
            <ac:picMk id="21" creationId="{CE5F9446-5776-D157-349A-C5FB7A40701A}"/>
          </ac:picMkLst>
        </pc:picChg>
        <pc:picChg chg="mod">
          <ac:chgData name="Doerfler, Lena" userId="aeb0559f-200d-4a58-9e6d-125e1b704bf8" providerId="ADAL" clId="{2F42D7B1-B962-445E-8485-41980C3AF6B0}" dt="2023-03-01T14:16:25.346" v="8234"/>
          <ac:picMkLst>
            <pc:docMk/>
            <pc:sldMk cId="1298728995" sldId="5422"/>
            <ac:picMk id="25" creationId="{43266FE7-07B3-C1BB-894E-5E66127D0B1E}"/>
          </ac:picMkLst>
        </pc:picChg>
        <pc:picChg chg="mod">
          <ac:chgData name="Doerfler, Lena" userId="aeb0559f-200d-4a58-9e6d-125e1b704bf8" providerId="ADAL" clId="{2F42D7B1-B962-445E-8485-41980C3AF6B0}" dt="2023-03-01T14:16:25.355" v="8245"/>
          <ac:picMkLst>
            <pc:docMk/>
            <pc:sldMk cId="1298728995" sldId="5422"/>
            <ac:picMk id="26" creationId="{3D2C0374-021E-B508-6A33-BFBF293D1616}"/>
          </ac:picMkLst>
        </pc:picChg>
        <pc:picChg chg="mod">
          <ac:chgData name="Doerfler, Lena" userId="aeb0559f-200d-4a58-9e6d-125e1b704bf8" providerId="ADAL" clId="{2F42D7B1-B962-445E-8485-41980C3AF6B0}" dt="2023-03-01T14:16:25.360" v="8255"/>
          <ac:picMkLst>
            <pc:docMk/>
            <pc:sldMk cId="1298728995" sldId="5422"/>
            <ac:picMk id="28" creationId="{D067FBC3-5402-282D-45D0-668A712B2E02}"/>
          </ac:picMkLst>
        </pc:picChg>
        <pc:picChg chg="mod">
          <ac:chgData name="Doerfler, Lena" userId="aeb0559f-200d-4a58-9e6d-125e1b704bf8" providerId="ADAL" clId="{2F42D7B1-B962-445E-8485-41980C3AF6B0}" dt="2023-03-01T14:16:25.323" v="8201"/>
          <ac:picMkLst>
            <pc:docMk/>
            <pc:sldMk cId="1298728995" sldId="5422"/>
            <ac:picMk id="35" creationId="{DD60EB35-9BB9-45DD-8BF4-0BF6AA36BA11}"/>
          </ac:picMkLst>
        </pc:picChg>
        <pc:picChg chg="mod">
          <ac:chgData name="Doerfler, Lena" userId="aeb0559f-200d-4a58-9e6d-125e1b704bf8" providerId="ADAL" clId="{2F42D7B1-B962-445E-8485-41980C3AF6B0}" dt="2023-03-01T14:16:25.330" v="8212"/>
          <ac:picMkLst>
            <pc:docMk/>
            <pc:sldMk cId="1298728995" sldId="5422"/>
            <ac:picMk id="36" creationId="{D62DAAFC-2903-4D94-9DC7-200771D7C98A}"/>
          </ac:picMkLst>
        </pc:picChg>
        <pc:picChg chg="mod">
          <ac:chgData name="Doerfler, Lena" userId="aeb0559f-200d-4a58-9e6d-125e1b704bf8" providerId="ADAL" clId="{2F42D7B1-B962-445E-8485-41980C3AF6B0}" dt="2023-03-01T14:16:25.360" v="8255"/>
          <ac:picMkLst>
            <pc:docMk/>
            <pc:sldMk cId="1298728995" sldId="5422"/>
            <ac:picMk id="51" creationId="{99CBA120-BC5B-6386-281C-F4EC4AB831F8}"/>
          </ac:picMkLst>
        </pc:picChg>
        <pc:picChg chg="del mod ord">
          <ac:chgData name="Doerfler, Lena" userId="aeb0559f-200d-4a58-9e6d-125e1b704bf8" providerId="ADAL" clId="{2F42D7B1-B962-445E-8485-41980C3AF6B0}" dt="2023-03-13T12:51:23.650" v="11069" actId="478"/>
          <ac:picMkLst>
            <pc:docMk/>
            <pc:sldMk cId="1298728995" sldId="5422"/>
            <ac:picMk id="83" creationId="{CEE82639-D8FA-358E-E8D1-9EF1BE515363}"/>
          </ac:picMkLst>
        </pc:picChg>
        <pc:picChg chg="mod">
          <ac:chgData name="Doerfler, Lena" userId="aeb0559f-200d-4a58-9e6d-125e1b704bf8" providerId="ADAL" clId="{2F42D7B1-B962-445E-8485-41980C3AF6B0}" dt="2023-03-13T12:52:26.508" v="11081" actId="1076"/>
          <ac:picMkLst>
            <pc:docMk/>
            <pc:sldMk cId="1298728995" sldId="5422"/>
            <ac:picMk id="87" creationId="{2B587286-274F-C712-FF0F-73616F1E2C0E}"/>
          </ac:picMkLst>
        </pc:picChg>
        <pc:cxnChg chg="mod">
          <ac:chgData name="Doerfler, Lena" userId="aeb0559f-200d-4a58-9e6d-125e1b704bf8" providerId="ADAL" clId="{2F42D7B1-B962-445E-8485-41980C3AF6B0}" dt="2023-03-01T14:16:25.246" v="8054"/>
          <ac:cxnSpMkLst>
            <pc:docMk/>
            <pc:sldMk cId="1298728995" sldId="5422"/>
            <ac:cxnSpMk id="38" creationId="{752F9CE5-C7F2-46EE-8262-0A9C453A8662}"/>
          </ac:cxnSpMkLst>
        </pc:cxnChg>
        <pc:cxnChg chg="mod">
          <ac:chgData name="Doerfler, Lena" userId="aeb0559f-200d-4a58-9e6d-125e1b704bf8" providerId="ADAL" clId="{2F42D7B1-B962-445E-8485-41980C3AF6B0}" dt="2023-03-01T14:16:25.274" v="8110"/>
          <ac:cxnSpMkLst>
            <pc:docMk/>
            <pc:sldMk cId="1298728995" sldId="5422"/>
            <ac:cxnSpMk id="71" creationId="{C4D49286-E860-4181-9B8A-EFC190750B04}"/>
          </ac:cxnSpMkLst>
        </pc:cxnChg>
        <pc:cxnChg chg="mod">
          <ac:chgData name="Doerfler, Lena" userId="aeb0559f-200d-4a58-9e6d-125e1b704bf8" providerId="ADAL" clId="{2F42D7B1-B962-445E-8485-41980C3AF6B0}" dt="2023-03-01T14:16:25.254" v="8070"/>
          <ac:cxnSpMkLst>
            <pc:docMk/>
            <pc:sldMk cId="1298728995" sldId="5422"/>
            <ac:cxnSpMk id="77" creationId="{4FEAE43D-A276-41C7-AB7D-3554192E7DBB}"/>
          </ac:cxnSpMkLst>
        </pc:cxnChg>
        <pc:cxnChg chg="mod">
          <ac:chgData name="Doerfler, Lena" userId="aeb0559f-200d-4a58-9e6d-125e1b704bf8" providerId="ADAL" clId="{2F42D7B1-B962-445E-8485-41980C3AF6B0}" dt="2023-03-01T14:16:25.286" v="8134"/>
          <ac:cxnSpMkLst>
            <pc:docMk/>
            <pc:sldMk cId="1298728995" sldId="5422"/>
            <ac:cxnSpMk id="85" creationId="{D70B2795-6AD7-47B0-B96B-91461012D032}"/>
          </ac:cxnSpMkLst>
        </pc:cxnChg>
      </pc:sldChg>
      <pc:sldChg chg="addSp delSp modSp add del mod ord modAnim modNotes">
        <pc:chgData name="Doerfler, Lena" userId="aeb0559f-200d-4a58-9e6d-125e1b704bf8" providerId="ADAL" clId="{2F42D7B1-B962-445E-8485-41980C3AF6B0}" dt="2023-04-14T14:08:26.795" v="14085" actId="47"/>
        <pc:sldMkLst>
          <pc:docMk/>
          <pc:sldMk cId="2246888887" sldId="5423"/>
        </pc:sldMkLst>
        <pc:spChg chg="mod">
          <ac:chgData name="Doerfler, Lena" userId="aeb0559f-200d-4a58-9e6d-125e1b704bf8" providerId="ADAL" clId="{2F42D7B1-B962-445E-8485-41980C3AF6B0}" dt="2023-04-14T14:02:03.300" v="13904" actId="948"/>
          <ac:spMkLst>
            <pc:docMk/>
            <pc:sldMk cId="2246888887" sldId="5423"/>
            <ac:spMk id="2" creationId="{793FF0BB-3D97-A013-1F25-BC2915D6CDB9}"/>
          </ac:spMkLst>
        </pc:spChg>
        <pc:spChg chg="add del mod modVis">
          <ac:chgData name="Doerfler, Lena" userId="aeb0559f-200d-4a58-9e6d-125e1b704bf8" providerId="ADAL" clId="{2F42D7B1-B962-445E-8485-41980C3AF6B0}" dt="2023-04-14T14:01:53.119" v="13736"/>
          <ac:spMkLst>
            <pc:docMk/>
            <pc:sldMk cId="2246888887" sldId="5423"/>
            <ac:spMk id="3" creationId="{8953868E-EBD9-6795-6C8C-9F6791324B57}"/>
          </ac:spMkLst>
        </pc:spChg>
        <pc:spChg chg="del mod">
          <ac:chgData name="Doerfler, Lena" userId="aeb0559f-200d-4a58-9e6d-125e1b704bf8" providerId="ADAL" clId="{2F42D7B1-B962-445E-8485-41980C3AF6B0}" dt="2023-04-06T13:46:53.112" v="11890" actId="478"/>
          <ac:spMkLst>
            <pc:docMk/>
            <pc:sldMk cId="2246888887" sldId="5423"/>
            <ac:spMk id="3" creationId="{FCA124A1-9DFE-A2EE-D75F-D167D3D4440F}"/>
          </ac:spMkLst>
        </pc:spChg>
        <pc:spChg chg="mod">
          <ac:chgData name="Doerfler, Lena" userId="aeb0559f-200d-4a58-9e6d-125e1b704bf8" providerId="ADAL" clId="{2F42D7B1-B962-445E-8485-41980C3AF6B0}" dt="2023-03-01T14:18:53.559" v="8749" actId="790"/>
          <ac:spMkLst>
            <pc:docMk/>
            <pc:sldMk cId="2246888887" sldId="5423"/>
            <ac:spMk id="4" creationId="{F2F864BE-5849-4C6F-95E4-DAB0C15478F6}"/>
          </ac:spMkLst>
        </pc:spChg>
        <pc:spChg chg="add mod">
          <ac:chgData name="Doerfler, Lena" userId="aeb0559f-200d-4a58-9e6d-125e1b704bf8" providerId="ADAL" clId="{2F42D7B1-B962-445E-8485-41980C3AF6B0}" dt="2023-04-06T13:49:44.140" v="11930" actId="1076"/>
          <ac:spMkLst>
            <pc:docMk/>
            <pc:sldMk cId="2246888887" sldId="5423"/>
            <ac:spMk id="5" creationId="{D9741D37-5B15-EDF0-29E8-69BD93E9FC00}"/>
          </ac:spMkLst>
        </pc:spChg>
        <pc:spChg chg="add del mod modVis">
          <ac:chgData name="Doerfler, Lena" userId="aeb0559f-200d-4a58-9e6d-125e1b704bf8" providerId="ADAL" clId="{2F42D7B1-B962-445E-8485-41980C3AF6B0}" dt="2023-03-10T13:02:39.204" v="10422"/>
          <ac:spMkLst>
            <pc:docMk/>
            <pc:sldMk cId="2246888887" sldId="5423"/>
            <ac:spMk id="6" creationId="{7AA068AE-98C1-4C43-5381-E10F37E72331}"/>
          </ac:spMkLst>
        </pc:spChg>
        <pc:spChg chg="add del mod modVis">
          <ac:chgData name="Doerfler, Lena" userId="aeb0559f-200d-4a58-9e6d-125e1b704bf8" providerId="ADAL" clId="{2F42D7B1-B962-445E-8485-41980C3AF6B0}" dt="2023-04-14T14:01:55.396" v="13788"/>
          <ac:spMkLst>
            <pc:docMk/>
            <pc:sldMk cId="2246888887" sldId="5423"/>
            <ac:spMk id="6" creationId="{A8496541-425D-B8BF-0FF1-404BC6B524C7}"/>
          </ac:spMkLst>
        </pc:spChg>
        <pc:spChg chg="add del mod">
          <ac:chgData name="Doerfler, Lena" userId="aeb0559f-200d-4a58-9e6d-125e1b704bf8" providerId="ADAL" clId="{2F42D7B1-B962-445E-8485-41980C3AF6B0}" dt="2023-03-01T14:18:54.104" v="9125"/>
          <ac:spMkLst>
            <pc:docMk/>
            <pc:sldMk cId="2246888887" sldId="5423"/>
            <ac:spMk id="6" creationId="{E2F32E00-1B88-D52D-6C00-2A2C879CD5D4}"/>
          </ac:spMkLst>
        </pc:spChg>
        <pc:spChg chg="add mod">
          <ac:chgData name="Doerfler, Lena" userId="aeb0559f-200d-4a58-9e6d-125e1b704bf8" providerId="ADAL" clId="{2F42D7B1-B962-445E-8485-41980C3AF6B0}" dt="2023-03-01T14:18:53.564" v="8752" actId="790"/>
          <ac:spMkLst>
            <pc:docMk/>
            <pc:sldMk cId="2246888887" sldId="5423"/>
            <ac:spMk id="7" creationId="{AF84596B-5519-D921-A87B-2F830A4CA00B}"/>
          </ac:spMkLst>
        </pc:spChg>
        <pc:spChg chg="add mod">
          <ac:chgData name="Doerfler, Lena" userId="aeb0559f-200d-4a58-9e6d-125e1b704bf8" providerId="ADAL" clId="{2F42D7B1-B962-445E-8485-41980C3AF6B0}" dt="2023-03-01T14:18:54.106" v="9126"/>
          <ac:spMkLst>
            <pc:docMk/>
            <pc:sldMk cId="2246888887" sldId="5423"/>
            <ac:spMk id="8" creationId="{35909996-F869-58B0-5F81-9F0268B99D95}"/>
          </ac:spMkLst>
        </pc:spChg>
        <pc:spChg chg="add del mod modVis">
          <ac:chgData name="Doerfler, Lena" userId="aeb0559f-200d-4a58-9e6d-125e1b704bf8" providerId="ADAL" clId="{2F42D7B1-B962-445E-8485-41980C3AF6B0}" dt="2023-03-10T13:02:39.886" v="10468"/>
          <ac:spMkLst>
            <pc:docMk/>
            <pc:sldMk cId="2246888887" sldId="5423"/>
            <ac:spMk id="10" creationId="{91B9EBFF-A90A-9A26-B2C6-0B1307A18F57}"/>
          </ac:spMkLst>
        </pc:spChg>
        <pc:spChg chg="add del mod modVis">
          <ac:chgData name="Doerfler, Lena" userId="aeb0559f-200d-4a58-9e6d-125e1b704bf8" providerId="ADAL" clId="{2F42D7B1-B962-445E-8485-41980C3AF6B0}" dt="2023-03-01T14:18:55.180" v="9651"/>
          <ac:spMkLst>
            <pc:docMk/>
            <pc:sldMk cId="2246888887" sldId="5423"/>
            <ac:spMk id="10" creationId="{A4CE429B-6980-6590-DA5D-93F450B60F40}"/>
          </ac:spMkLst>
        </pc:spChg>
        <pc:spChg chg="add del mod modVis">
          <ac:chgData name="Doerfler, Lena" userId="aeb0559f-200d-4a58-9e6d-125e1b704bf8" providerId="ADAL" clId="{2F42D7B1-B962-445E-8485-41980C3AF6B0}" dt="2023-03-10T13:02:41.158" v="10519"/>
          <ac:spMkLst>
            <pc:docMk/>
            <pc:sldMk cId="2246888887" sldId="5423"/>
            <ac:spMk id="11" creationId="{444E5EB7-7FF0-0308-206B-536B34A896B7}"/>
          </ac:spMkLst>
        </pc:spChg>
        <pc:spChg chg="add mod">
          <ac:chgData name="Doerfler, Lena" userId="aeb0559f-200d-4a58-9e6d-125e1b704bf8" providerId="ADAL" clId="{2F42D7B1-B962-445E-8485-41980C3AF6B0}" dt="2023-04-11T13:24:30.473" v="12379" actId="1037"/>
          <ac:spMkLst>
            <pc:docMk/>
            <pc:sldMk cId="2246888887" sldId="5423"/>
            <ac:spMk id="11" creationId="{486E0B3B-D21F-2E1F-176A-090FBF007C9C}"/>
          </ac:spMkLst>
        </pc:spChg>
        <pc:spChg chg="add mod">
          <ac:chgData name="Doerfler, Lena" userId="aeb0559f-200d-4a58-9e6d-125e1b704bf8" providerId="ADAL" clId="{2F42D7B1-B962-445E-8485-41980C3AF6B0}" dt="2023-04-11T13:24:30.473" v="12379" actId="1037"/>
          <ac:spMkLst>
            <pc:docMk/>
            <pc:sldMk cId="2246888887" sldId="5423"/>
            <ac:spMk id="13" creationId="{E1DFF83F-4B45-B533-AEB3-880E523B5434}"/>
          </ac:spMkLst>
        </pc:spChg>
        <pc:spChg chg="add mod">
          <ac:chgData name="Doerfler, Lena" userId="aeb0559f-200d-4a58-9e6d-125e1b704bf8" providerId="ADAL" clId="{2F42D7B1-B962-445E-8485-41980C3AF6B0}" dt="2023-04-11T13:24:30.473" v="12379" actId="1037"/>
          <ac:spMkLst>
            <pc:docMk/>
            <pc:sldMk cId="2246888887" sldId="5423"/>
            <ac:spMk id="15" creationId="{F76F020F-DC66-AE83-10D4-1CE2163C1CF4}"/>
          </ac:spMkLst>
        </pc:spChg>
        <pc:spChg chg="add del mod modVis">
          <ac:chgData name="Doerfler, Lena" userId="aeb0559f-200d-4a58-9e6d-125e1b704bf8" providerId="ADAL" clId="{2F42D7B1-B962-445E-8485-41980C3AF6B0}" dt="2023-04-14T14:01:59.450" v="13836"/>
          <ac:spMkLst>
            <pc:docMk/>
            <pc:sldMk cId="2246888887" sldId="5423"/>
            <ac:spMk id="16" creationId="{98386FF4-F153-2F2E-C967-58B60A301536}"/>
          </ac:spMkLst>
        </pc:spChg>
        <pc:spChg chg="add del mod modVis">
          <ac:chgData name="Doerfler, Lena" userId="aeb0559f-200d-4a58-9e6d-125e1b704bf8" providerId="ADAL" clId="{2F42D7B1-B962-445E-8485-41980C3AF6B0}" dt="2023-04-14T14:02:00.707" v="13886"/>
          <ac:spMkLst>
            <pc:docMk/>
            <pc:sldMk cId="2246888887" sldId="5423"/>
            <ac:spMk id="17" creationId="{7B89FCFF-BB21-A44B-DF05-2FEE64569446}"/>
          </ac:spMkLst>
        </pc:spChg>
        <pc:spChg chg="add mod">
          <ac:chgData name="Doerfler, Lena" userId="aeb0559f-200d-4a58-9e6d-125e1b704bf8" providerId="ADAL" clId="{2F42D7B1-B962-445E-8485-41980C3AF6B0}" dt="2023-04-11T13:24:30.473" v="12379" actId="1037"/>
          <ac:spMkLst>
            <pc:docMk/>
            <pc:sldMk cId="2246888887" sldId="5423"/>
            <ac:spMk id="19" creationId="{F55A253C-AF1B-A741-0FBD-742501FCF4B2}"/>
          </ac:spMkLst>
        </pc:spChg>
        <pc:spChg chg="add del mod modVis">
          <ac:chgData name="Doerfler, Lena" userId="aeb0559f-200d-4a58-9e6d-125e1b704bf8" providerId="ADAL" clId="{2F42D7B1-B962-445E-8485-41980C3AF6B0}" dt="2023-04-14T14:02:03.357" v="13945"/>
          <ac:spMkLst>
            <pc:docMk/>
            <pc:sldMk cId="2246888887" sldId="5423"/>
            <ac:spMk id="20" creationId="{30E3DBA2-034F-0FED-214E-2350A5A63898}"/>
          </ac:spMkLst>
        </pc:spChg>
        <pc:spChg chg="add del mod">
          <ac:chgData name="Doerfler, Lena" userId="aeb0559f-200d-4a58-9e6d-125e1b704bf8" providerId="ADAL" clId="{2F42D7B1-B962-445E-8485-41980C3AF6B0}" dt="2023-04-11T13:24:01.814" v="12347" actId="478"/>
          <ac:spMkLst>
            <pc:docMk/>
            <pc:sldMk cId="2246888887" sldId="5423"/>
            <ac:spMk id="22" creationId="{19B38A11-793E-9425-0A2F-9B413338AB88}"/>
          </ac:spMkLst>
        </pc:spChg>
        <pc:spChg chg="add mod">
          <ac:chgData name="Doerfler, Lena" userId="aeb0559f-200d-4a58-9e6d-125e1b704bf8" providerId="ADAL" clId="{2F42D7B1-B962-445E-8485-41980C3AF6B0}" dt="2023-04-11T13:24:30.473" v="12379" actId="1037"/>
          <ac:spMkLst>
            <pc:docMk/>
            <pc:sldMk cId="2246888887" sldId="5423"/>
            <ac:spMk id="36" creationId="{B514B9D9-29B9-B73E-9FF6-64CFC6FCE652}"/>
          </ac:spMkLst>
        </pc:spChg>
        <pc:graphicFrameChg chg="mod">
          <ac:chgData name="Doerfler, Lena" userId="aeb0559f-200d-4a58-9e6d-125e1b704bf8" providerId="ADAL" clId="{2F42D7B1-B962-445E-8485-41980C3AF6B0}" dt="2023-04-14T14:02:03.367" v="13947"/>
          <ac:graphicFrameMkLst>
            <pc:docMk/>
            <pc:sldMk cId="2246888887" sldId="5423"/>
            <ac:graphicFrameMk id="9" creationId="{F48F8CC0-8205-F91A-05CD-FC475DFBBABA}"/>
          </ac:graphicFrameMkLst>
        </pc:graphicFrameChg>
        <pc:picChg chg="add mod">
          <ac:chgData name="Doerfler, Lena" userId="aeb0559f-200d-4a58-9e6d-125e1b704bf8" providerId="ADAL" clId="{2F42D7B1-B962-445E-8485-41980C3AF6B0}" dt="2023-04-11T13:24:30.473" v="12379" actId="1037"/>
          <ac:picMkLst>
            <pc:docMk/>
            <pc:sldMk cId="2246888887" sldId="5423"/>
            <ac:picMk id="10" creationId="{CDB70F36-0C3C-2220-3221-846EE650BD9D}"/>
          </ac:picMkLst>
        </pc:picChg>
        <pc:picChg chg="add mod">
          <ac:chgData name="Doerfler, Lena" userId="aeb0559f-200d-4a58-9e6d-125e1b704bf8" providerId="ADAL" clId="{2F42D7B1-B962-445E-8485-41980C3AF6B0}" dt="2023-04-11T13:24:30.473" v="12379" actId="1037"/>
          <ac:picMkLst>
            <pc:docMk/>
            <pc:sldMk cId="2246888887" sldId="5423"/>
            <ac:picMk id="12" creationId="{EA0E1F54-108A-A7F2-A841-27A86F3B79F9}"/>
          </ac:picMkLst>
        </pc:picChg>
        <pc:picChg chg="add mod">
          <ac:chgData name="Doerfler, Lena" userId="aeb0559f-200d-4a58-9e6d-125e1b704bf8" providerId="ADAL" clId="{2F42D7B1-B962-445E-8485-41980C3AF6B0}" dt="2023-04-11T13:24:30.473" v="12379" actId="1037"/>
          <ac:picMkLst>
            <pc:docMk/>
            <pc:sldMk cId="2246888887" sldId="5423"/>
            <ac:picMk id="14" creationId="{C914E376-5876-7C56-A5E5-37C795395B25}"/>
          </ac:picMkLst>
        </pc:picChg>
        <pc:picChg chg="add del mod">
          <ac:chgData name="Doerfler, Lena" userId="aeb0559f-200d-4a58-9e6d-125e1b704bf8" providerId="ADAL" clId="{2F42D7B1-B962-445E-8485-41980C3AF6B0}" dt="2023-03-10T13:56:06.723" v="10946" actId="478"/>
          <ac:picMkLst>
            <pc:docMk/>
            <pc:sldMk cId="2246888887" sldId="5423"/>
            <ac:picMk id="15" creationId="{3A0A08C2-C418-DF09-31D6-3B88C31D88D0}"/>
          </ac:picMkLst>
        </pc:picChg>
        <pc:picChg chg="add del mod ord">
          <ac:chgData name="Doerfler, Lena" userId="aeb0559f-200d-4a58-9e6d-125e1b704bf8" providerId="ADAL" clId="{2F42D7B1-B962-445E-8485-41980C3AF6B0}" dt="2023-04-06T13:53:18.186" v="12097" actId="478"/>
          <ac:picMkLst>
            <pc:docMk/>
            <pc:sldMk cId="2246888887" sldId="5423"/>
            <ac:picMk id="17" creationId="{36F6F527-35D4-3652-C234-1B6A008A1178}"/>
          </ac:picMkLst>
        </pc:picChg>
        <pc:picChg chg="add mod">
          <ac:chgData name="Doerfler, Lena" userId="aeb0559f-200d-4a58-9e6d-125e1b704bf8" providerId="ADAL" clId="{2F42D7B1-B962-445E-8485-41980C3AF6B0}" dt="2023-04-11T13:24:30.473" v="12379" actId="1037"/>
          <ac:picMkLst>
            <pc:docMk/>
            <pc:sldMk cId="2246888887" sldId="5423"/>
            <ac:picMk id="18" creationId="{7D444BC9-EFD2-964F-9551-C5FD7976C8CC}"/>
          </ac:picMkLst>
        </pc:picChg>
        <pc:picChg chg="add del mod">
          <ac:chgData name="Doerfler, Lena" userId="aeb0559f-200d-4a58-9e6d-125e1b704bf8" providerId="ADAL" clId="{2F42D7B1-B962-445E-8485-41980C3AF6B0}" dt="2023-03-10T13:38:54.861" v="10692" actId="478"/>
          <ac:picMkLst>
            <pc:docMk/>
            <pc:sldMk cId="2246888887" sldId="5423"/>
            <ac:picMk id="19" creationId="{C7EB456B-B50C-4FAA-B00F-D103647EBEBE}"/>
          </ac:picMkLst>
        </pc:picChg>
        <pc:picChg chg="add del mod">
          <ac:chgData name="Doerfler, Lena" userId="aeb0559f-200d-4a58-9e6d-125e1b704bf8" providerId="ADAL" clId="{2F42D7B1-B962-445E-8485-41980C3AF6B0}" dt="2023-03-10T13:38:53.501" v="10691" actId="478"/>
          <ac:picMkLst>
            <pc:docMk/>
            <pc:sldMk cId="2246888887" sldId="5423"/>
            <ac:picMk id="21" creationId="{4124BEEE-D2CF-0109-A9AE-1C54DA78F480}"/>
          </ac:picMkLst>
        </pc:picChg>
        <pc:picChg chg="add mod ord">
          <ac:chgData name="Doerfler, Lena" userId="aeb0559f-200d-4a58-9e6d-125e1b704bf8" providerId="ADAL" clId="{2F42D7B1-B962-445E-8485-41980C3AF6B0}" dt="2023-04-11T13:24:30.473" v="12379" actId="1037"/>
          <ac:picMkLst>
            <pc:docMk/>
            <pc:sldMk cId="2246888887" sldId="5423"/>
            <ac:picMk id="21" creationId="{C394A08B-EE1D-A39F-E0E9-517BEA740B8C}"/>
          </ac:picMkLst>
        </pc:picChg>
        <pc:picChg chg="add del mod">
          <ac:chgData name="Doerfler, Lena" userId="aeb0559f-200d-4a58-9e6d-125e1b704bf8" providerId="ADAL" clId="{2F42D7B1-B962-445E-8485-41980C3AF6B0}" dt="2023-03-10T13:42:21.040" v="10889" actId="478"/>
          <ac:picMkLst>
            <pc:docMk/>
            <pc:sldMk cId="2246888887" sldId="5423"/>
            <ac:picMk id="23" creationId="{510C3B9A-DD3C-CEAF-072E-686F84D3B783}"/>
          </ac:picMkLst>
        </pc:picChg>
        <pc:picChg chg="add del mod">
          <ac:chgData name="Doerfler, Lena" userId="aeb0559f-200d-4a58-9e6d-125e1b704bf8" providerId="ADAL" clId="{2F42D7B1-B962-445E-8485-41980C3AF6B0}" dt="2023-03-10T13:53:54.775" v="10933" actId="478"/>
          <ac:picMkLst>
            <pc:docMk/>
            <pc:sldMk cId="2246888887" sldId="5423"/>
            <ac:picMk id="25" creationId="{0298EFC1-B6E3-E5FD-21C8-924BEA9C2E6F}"/>
          </ac:picMkLst>
        </pc:picChg>
        <pc:picChg chg="add del mod">
          <ac:chgData name="Doerfler, Lena" userId="aeb0559f-200d-4a58-9e6d-125e1b704bf8" providerId="ADAL" clId="{2F42D7B1-B962-445E-8485-41980C3AF6B0}" dt="2023-03-10T13:54:43.490" v="10936" actId="478"/>
          <ac:picMkLst>
            <pc:docMk/>
            <pc:sldMk cId="2246888887" sldId="5423"/>
            <ac:picMk id="27" creationId="{78EC5F9C-2DD3-8FFB-5C17-BEBF7E924EF5}"/>
          </ac:picMkLst>
        </pc:picChg>
        <pc:picChg chg="add del mod">
          <ac:chgData name="Doerfler, Lena" userId="aeb0559f-200d-4a58-9e6d-125e1b704bf8" providerId="ADAL" clId="{2F42D7B1-B962-445E-8485-41980C3AF6B0}" dt="2023-03-10T13:55:12.513" v="10938" actId="478"/>
          <ac:picMkLst>
            <pc:docMk/>
            <pc:sldMk cId="2246888887" sldId="5423"/>
            <ac:picMk id="29" creationId="{C0BEF8AB-4BE8-27A8-B10E-9271176DD912}"/>
          </ac:picMkLst>
        </pc:picChg>
        <pc:picChg chg="add del mod">
          <ac:chgData name="Doerfler, Lena" userId="aeb0559f-200d-4a58-9e6d-125e1b704bf8" providerId="ADAL" clId="{2F42D7B1-B962-445E-8485-41980C3AF6B0}" dt="2023-03-10T13:55:20.373" v="10940" actId="478"/>
          <ac:picMkLst>
            <pc:docMk/>
            <pc:sldMk cId="2246888887" sldId="5423"/>
            <ac:picMk id="31" creationId="{01C5183F-7BA3-9577-0D79-BE37140AA507}"/>
          </ac:picMkLst>
        </pc:picChg>
        <pc:picChg chg="add del mod">
          <ac:chgData name="Doerfler, Lena" userId="aeb0559f-200d-4a58-9e6d-125e1b704bf8" providerId="ADAL" clId="{2F42D7B1-B962-445E-8485-41980C3AF6B0}" dt="2023-03-10T13:55:24.360" v="10943" actId="478"/>
          <ac:picMkLst>
            <pc:docMk/>
            <pc:sldMk cId="2246888887" sldId="5423"/>
            <ac:picMk id="33" creationId="{33AE0FC7-E97A-CC09-3AD9-0B5315F84F88}"/>
          </ac:picMkLst>
        </pc:picChg>
        <pc:picChg chg="add del mod">
          <ac:chgData name="Doerfler, Lena" userId="aeb0559f-200d-4a58-9e6d-125e1b704bf8" providerId="ADAL" clId="{2F42D7B1-B962-445E-8485-41980C3AF6B0}" dt="2023-03-10T13:56:04.335" v="10945" actId="478"/>
          <ac:picMkLst>
            <pc:docMk/>
            <pc:sldMk cId="2246888887" sldId="5423"/>
            <ac:picMk id="35" creationId="{2E3DDFD4-5CE6-0844-D783-B027F5590262}"/>
          </ac:picMkLst>
        </pc:picChg>
        <pc:picChg chg="add mod">
          <ac:chgData name="Doerfler, Lena" userId="aeb0559f-200d-4a58-9e6d-125e1b704bf8" providerId="ADAL" clId="{2F42D7B1-B962-445E-8485-41980C3AF6B0}" dt="2023-04-11T13:24:23.327" v="12353" actId="1076"/>
          <ac:picMkLst>
            <pc:docMk/>
            <pc:sldMk cId="2246888887" sldId="5423"/>
            <ac:picMk id="1026" creationId="{5F20979A-2929-089E-BB8E-CAA3E9379F76}"/>
          </ac:picMkLst>
        </pc:picChg>
        <pc:cxnChg chg="add del mod">
          <ac:chgData name="Doerfler, Lena" userId="aeb0559f-200d-4a58-9e6d-125e1b704bf8" providerId="ADAL" clId="{2F42D7B1-B962-445E-8485-41980C3AF6B0}" dt="2023-04-06T13:51:07.470" v="11985" actId="478"/>
          <ac:cxnSpMkLst>
            <pc:docMk/>
            <pc:sldMk cId="2246888887" sldId="5423"/>
            <ac:cxnSpMk id="38" creationId="{2A694F54-9D2E-0748-0248-D4163F9EA2D3}"/>
          </ac:cxnSpMkLst>
        </pc:cxnChg>
      </pc:sldChg>
      <pc:sldChg chg="addSp delSp modSp add mod ord modClrScheme modAnim chgLayout modNotes modNotesTx">
        <pc:chgData name="Doerfler, Lena" userId="aeb0559f-200d-4a58-9e6d-125e1b704bf8" providerId="ADAL" clId="{2F42D7B1-B962-445E-8485-41980C3AF6B0}" dt="2023-04-20T14:04:50.929" v="15077" actId="1076"/>
        <pc:sldMkLst>
          <pc:docMk/>
          <pc:sldMk cId="1726008001" sldId="5424"/>
        </pc:sldMkLst>
        <pc:spChg chg="mod ord">
          <ac:chgData name="Doerfler, Lena" userId="aeb0559f-200d-4a58-9e6d-125e1b704bf8" providerId="ADAL" clId="{2F42D7B1-B962-445E-8485-41980C3AF6B0}" dt="2023-03-10T13:40:34.178" v="10825"/>
          <ac:spMkLst>
            <pc:docMk/>
            <pc:sldMk cId="1726008001" sldId="5424"/>
            <ac:spMk id="2" creationId="{D4456312-534A-DACD-AE91-A2F8C3258A98}"/>
          </ac:spMkLst>
        </pc:spChg>
        <pc:spChg chg="add mod ord">
          <ac:chgData name="Doerfler, Lena" userId="aeb0559f-200d-4a58-9e6d-125e1b704bf8" providerId="ADAL" clId="{2F42D7B1-B962-445E-8485-41980C3AF6B0}" dt="2023-03-10T13:40:34.177" v="10821"/>
          <ac:spMkLst>
            <pc:docMk/>
            <pc:sldMk cId="1726008001" sldId="5424"/>
            <ac:spMk id="3" creationId="{376E4947-455E-BB41-5568-B698DAB1DAFD}"/>
          </ac:spMkLst>
        </pc:spChg>
        <pc:spChg chg="add mod">
          <ac:chgData name="Doerfler, Lena" userId="aeb0559f-200d-4a58-9e6d-125e1b704bf8" providerId="ADAL" clId="{2F42D7B1-B962-445E-8485-41980C3AF6B0}" dt="2023-04-20T14:04:50.929" v="15077" actId="1076"/>
          <ac:spMkLst>
            <pc:docMk/>
            <pc:sldMk cId="1726008001" sldId="5424"/>
            <ac:spMk id="4" creationId="{292F5D7D-C080-5DB7-2952-E550B9F08A4B}"/>
          </ac:spMkLst>
        </pc:spChg>
        <pc:spChg chg="del mod">
          <ac:chgData name="Doerfler, Lena" userId="aeb0559f-200d-4a58-9e6d-125e1b704bf8" providerId="ADAL" clId="{2F42D7B1-B962-445E-8485-41980C3AF6B0}" dt="2023-03-02T07:33:56.842" v="10275" actId="478"/>
          <ac:spMkLst>
            <pc:docMk/>
            <pc:sldMk cId="1726008001" sldId="5424"/>
            <ac:spMk id="4" creationId="{77853C35-E04F-9E58-EDDA-445156B55937}"/>
          </ac:spMkLst>
        </pc:spChg>
        <pc:spChg chg="add del mod ord">
          <ac:chgData name="Doerfler, Lena" userId="aeb0559f-200d-4a58-9e6d-125e1b704bf8" providerId="ADAL" clId="{2F42D7B1-B962-445E-8485-41980C3AF6B0}" dt="2023-03-02T07:34:22.149" v="10276" actId="478"/>
          <ac:spMkLst>
            <pc:docMk/>
            <pc:sldMk cId="1726008001" sldId="5424"/>
            <ac:spMk id="5" creationId="{344FE7DE-ABEB-4425-5CFD-A551EAB8DA5F}"/>
          </ac:spMkLst>
        </pc:spChg>
        <pc:spChg chg="add del mod">
          <ac:chgData name="Doerfler, Lena" userId="aeb0559f-200d-4a58-9e6d-125e1b704bf8" providerId="ADAL" clId="{2F42D7B1-B962-445E-8485-41980C3AF6B0}" dt="2023-03-01T14:18:54.111" v="9130"/>
          <ac:spMkLst>
            <pc:docMk/>
            <pc:sldMk cId="1726008001" sldId="5424"/>
            <ac:spMk id="5" creationId="{A7E6E094-9D81-A31F-E5D1-4E2633DCFD43}"/>
          </ac:spMkLst>
        </pc:spChg>
        <pc:spChg chg="add mod ord">
          <ac:chgData name="Doerfler, Lena" userId="aeb0559f-200d-4a58-9e6d-125e1b704bf8" providerId="ADAL" clId="{2F42D7B1-B962-445E-8485-41980C3AF6B0}" dt="2023-03-10T13:40:34.177" v="10819"/>
          <ac:spMkLst>
            <pc:docMk/>
            <pc:sldMk cId="1726008001" sldId="5424"/>
            <ac:spMk id="6" creationId="{DA19EAB5-0E3E-A84A-4F2C-EBD986261369}"/>
          </ac:spMkLst>
        </pc:spChg>
        <pc:spChg chg="add mod ord">
          <ac:chgData name="Doerfler, Lena" userId="aeb0559f-200d-4a58-9e6d-125e1b704bf8" providerId="ADAL" clId="{2F42D7B1-B962-445E-8485-41980C3AF6B0}" dt="2023-03-10T13:40:34.178" v="10823"/>
          <ac:spMkLst>
            <pc:docMk/>
            <pc:sldMk cId="1726008001" sldId="5424"/>
            <ac:spMk id="7" creationId="{F54DE1FA-BFA3-9A34-A48F-55F575BF1C8C}"/>
          </ac:spMkLst>
        </pc:spChg>
        <pc:spChg chg="add mod ord">
          <ac:chgData name="Doerfler, Lena" userId="aeb0559f-200d-4a58-9e6d-125e1b704bf8" providerId="ADAL" clId="{2F42D7B1-B962-445E-8485-41980C3AF6B0}" dt="2023-03-10T13:40:34.179" v="10827"/>
          <ac:spMkLst>
            <pc:docMk/>
            <pc:sldMk cId="1726008001" sldId="5424"/>
            <ac:spMk id="8" creationId="{CCA25182-3304-BD64-3B77-9E6A2869D31E}"/>
          </ac:spMkLst>
        </pc:spChg>
        <pc:spChg chg="add del mod modVis">
          <ac:chgData name="Doerfler, Lena" userId="aeb0559f-200d-4a58-9e6d-125e1b704bf8" providerId="ADAL" clId="{2F42D7B1-B962-445E-8485-41980C3AF6B0}" dt="2023-03-01T14:18:55.184" v="9655"/>
          <ac:spMkLst>
            <pc:docMk/>
            <pc:sldMk cId="1726008001" sldId="5424"/>
            <ac:spMk id="8" creationId="{E6FC07D9-098B-CA86-20DA-5386415F3F2C}"/>
          </ac:spMkLst>
        </pc:spChg>
        <pc:spChg chg="mod ord topLvl">
          <ac:chgData name="Doerfler, Lena" userId="aeb0559f-200d-4a58-9e6d-125e1b704bf8" providerId="ADAL" clId="{2F42D7B1-B962-445E-8485-41980C3AF6B0}" dt="2023-03-10T13:40:34.182" v="10837"/>
          <ac:spMkLst>
            <pc:docMk/>
            <pc:sldMk cId="1726008001" sldId="5424"/>
            <ac:spMk id="11" creationId="{D70E1BA8-AE6F-A45D-1E68-4502C96E2625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12" creationId="{FB77E34D-4149-F3D0-D845-C869B6920E4E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13" creationId="{7C17A9A8-3759-FD7E-302E-6236424E4B95}"/>
          </ac:spMkLst>
        </pc:spChg>
        <pc:spChg chg="mod topLvl">
          <ac:chgData name="Doerfler, Lena" userId="aeb0559f-200d-4a58-9e6d-125e1b704bf8" providerId="ADAL" clId="{2F42D7B1-B962-445E-8485-41980C3AF6B0}" dt="2023-04-06T14:00:17.718" v="12195" actId="20577"/>
          <ac:spMkLst>
            <pc:docMk/>
            <pc:sldMk cId="1726008001" sldId="5424"/>
            <ac:spMk id="13" creationId="{B01D179A-355B-018B-6FEB-6D8B5A5E420B}"/>
          </ac:spMkLst>
        </pc:spChg>
        <pc:spChg chg="mod ord topLvl">
          <ac:chgData name="Doerfler, Lena" userId="aeb0559f-200d-4a58-9e6d-125e1b704bf8" providerId="ADAL" clId="{2F42D7B1-B962-445E-8485-41980C3AF6B0}" dt="2023-03-10T13:40:34.183" v="10839"/>
          <ac:spMkLst>
            <pc:docMk/>
            <pc:sldMk cId="1726008001" sldId="5424"/>
            <ac:spMk id="14" creationId="{9EC9BC71-022D-5AD0-595D-0ACEFEBE8AD4}"/>
          </ac:spMkLst>
        </pc:spChg>
        <pc:spChg chg="add del mod">
          <ac:chgData name="Doerfler, Lena" userId="aeb0559f-200d-4a58-9e6d-125e1b704bf8" providerId="ADAL" clId="{2F42D7B1-B962-445E-8485-41980C3AF6B0}" dt="2023-04-20T14:03:57.647" v="15071" actId="478"/>
          <ac:spMkLst>
            <pc:docMk/>
            <pc:sldMk cId="1726008001" sldId="5424"/>
            <ac:spMk id="17" creationId="{7089D3B6-59B3-6793-73CF-6023420BA0B6}"/>
          </ac:spMkLst>
        </pc:spChg>
        <pc:spChg chg="del mod ord topLvl">
          <ac:chgData name="Doerfler, Lena" userId="aeb0559f-200d-4a58-9e6d-125e1b704bf8" providerId="ADAL" clId="{2F42D7B1-B962-445E-8485-41980C3AF6B0}" dt="2023-03-14T15:13:36.617" v="11149" actId="478"/>
          <ac:spMkLst>
            <pc:docMk/>
            <pc:sldMk cId="1726008001" sldId="5424"/>
            <ac:spMk id="18" creationId="{1866829B-B816-36BC-D735-7B0282DEFBDE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0" creationId="{155299C4-9A24-B622-1025-62F208BC95B2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1" creationId="{F86AB78D-C71C-3E1E-A190-3366F854A210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2" creationId="{6C1AED81-5F9B-60AE-3CB0-B55654761375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3" creationId="{38A26637-A793-4D1C-B2B7-E66055E68711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4" creationId="{06DA8491-9D53-D1B7-5BFF-E1AC85221CD6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5" creationId="{4DD270F7-FB34-33C6-50A2-74A6EC8A9205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6" creationId="{05C24279-04D5-B999-BD92-2EE32D868644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7" creationId="{2EEF89C4-92E3-FBEF-2E2D-3A3E0B44CBE7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8" creationId="{42AC83B7-875C-E977-A409-9BCBA0A659B9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29" creationId="{1A8671AC-905E-141B-3F11-0D44A40AC0A5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0" creationId="{02F71979-E977-78E0-275F-52EC0B53589B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1" creationId="{DAC3BCC4-8C50-EDBB-DA18-97D709D3C178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2" creationId="{0A7BF23B-34E5-E292-0B6A-7DC3F29B0DE4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3" creationId="{BE188821-4F2C-FA60-A9C5-DCC5650EFB8F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4" creationId="{3635C606-7707-172A-3806-776863AECE73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5" creationId="{5EFF90C4-9811-10B9-7FBE-14CE9481BF19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6" creationId="{7A80229B-F00E-4375-3D6E-08F4EC732DAD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8" creationId="{16D1FE81-F838-8A81-2439-527B58B1A326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39" creationId="{79CB8919-73BF-06CE-6548-0A84C192E2F6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40" creationId="{9AB64D73-E031-0D24-09B6-50189922D93C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43" creationId="{E5D0E40D-88E8-9D3F-A033-4FEB922DA6F5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44" creationId="{63AC2C73-5F65-EDCB-791E-5B4D92969704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45" creationId="{EDB0EB7B-1742-DB3E-FCF9-229AF9718C56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46" creationId="{2D94117C-8236-C49A-1763-D1B1B87B849E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48" creationId="{6E5062B1-8F20-68CB-B034-DC748B2E40B2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49" creationId="{A9F7EB45-F490-9A4B-6D9F-43B13BE67E7C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54" creationId="{DB8BE221-5CE3-FC48-483E-4F299915434F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55" creationId="{3FCA6787-F574-5F0D-3B12-8C1F469881A7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56" creationId="{01171C36-7358-523E-3E6B-6BF6EA10EC1B}"/>
          </ac:spMkLst>
        </pc:spChg>
        <pc:spChg chg="del mod ord topLvl">
          <ac:chgData name="Doerfler, Lena" userId="aeb0559f-200d-4a58-9e6d-125e1b704bf8" providerId="ADAL" clId="{2F42D7B1-B962-445E-8485-41980C3AF6B0}" dt="2023-04-05T13:41:00.971" v="11336" actId="478"/>
          <ac:spMkLst>
            <pc:docMk/>
            <pc:sldMk cId="1726008001" sldId="5424"/>
            <ac:spMk id="60" creationId="{A2B0A868-E0BE-CBE9-27F2-1F38018DCB2D}"/>
          </ac:spMkLst>
        </pc:spChg>
        <pc:spChg chg="del mod ord topLvl">
          <ac:chgData name="Doerfler, Lena" userId="aeb0559f-200d-4a58-9e6d-125e1b704bf8" providerId="ADAL" clId="{2F42D7B1-B962-445E-8485-41980C3AF6B0}" dt="2023-04-05T13:40:36.721" v="11332" actId="478"/>
          <ac:spMkLst>
            <pc:docMk/>
            <pc:sldMk cId="1726008001" sldId="5424"/>
            <ac:spMk id="61" creationId="{9D1F46BE-FB38-0B6B-10E8-A2D2662635FF}"/>
          </ac:spMkLst>
        </pc:spChg>
        <pc:spChg chg="del mod ord topLvl">
          <ac:chgData name="Doerfler, Lena" userId="aeb0559f-200d-4a58-9e6d-125e1b704bf8" providerId="ADAL" clId="{2F42D7B1-B962-445E-8485-41980C3AF6B0}" dt="2023-04-05T13:41:00.971" v="11336" actId="478"/>
          <ac:spMkLst>
            <pc:docMk/>
            <pc:sldMk cId="1726008001" sldId="5424"/>
            <ac:spMk id="62" creationId="{43C7AB66-3912-2731-843B-27275FBBD9EF}"/>
          </ac:spMkLst>
        </pc:spChg>
        <pc:spChg chg="del mod ord topLvl">
          <ac:chgData name="Doerfler, Lena" userId="aeb0559f-200d-4a58-9e6d-125e1b704bf8" providerId="ADAL" clId="{2F42D7B1-B962-445E-8485-41980C3AF6B0}" dt="2023-04-05T13:40:39.531" v="11333" actId="478"/>
          <ac:spMkLst>
            <pc:docMk/>
            <pc:sldMk cId="1726008001" sldId="5424"/>
            <ac:spMk id="63" creationId="{79B550BB-248C-7F3A-6E66-EA2149D2EB5F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0" creationId="{CB544F04-30AA-67A5-7DD6-105CAFED0C5F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1" creationId="{C02A0AF5-1ABF-A905-ABA8-6C68B7EFD5D1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2" creationId="{5EB19697-0575-2420-BECF-7F94F605D4D7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3" creationId="{399DFB99-4EED-2546-D9C4-9A944C113F48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4" creationId="{D449F2F8-C0C9-8288-BBF9-2B749C7CCA22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5" creationId="{B6606001-5637-765A-FED3-84D37AE1F1EA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6" creationId="{6FE86CCF-89F7-E3DF-1E5E-1920EB358AFB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7" creationId="{E235B0D6-0F3E-0360-0EE8-AF67B7485B90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79" creationId="{9A347854-54A9-40DC-4124-CFB963B1933F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80" creationId="{9D202BDC-18B8-46AA-CE3A-F6A64725C7AD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81" creationId="{7BD87F25-46CC-6A67-1BE8-843210BD9ABA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84" creationId="{BF5854FB-98F7-A600-F1DF-B0F23627F371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85" creationId="{F97A438E-B1D8-8557-8F1C-96BF1AE6CE19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86" creationId="{39E3CF40-BBFB-5854-8C3B-13A5496F40A8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87" creationId="{A3A52708-0C04-590A-E9D4-D458A9D5CAFF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90" creationId="{AA984FF0-9DE8-58C4-42FD-40CF811B157D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91" creationId="{329D1621-1CFC-DA9F-69FE-6CD9C0178FCF}"/>
          </ac:spMkLst>
        </pc:spChg>
        <pc:spChg chg="add del mod modVis">
          <ac:chgData name="Doerfler, Lena" userId="aeb0559f-200d-4a58-9e6d-125e1b704bf8" providerId="ADAL" clId="{2F42D7B1-B962-445E-8485-41980C3AF6B0}" dt="2023-03-02T07:33:38.185" v="10209"/>
          <ac:spMkLst>
            <pc:docMk/>
            <pc:sldMk cId="1726008001" sldId="5424"/>
            <ac:spMk id="92" creationId="{B11FB335-99BA-D9C7-489C-57FBC0617625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96" creationId="{59A4B18E-B885-2AB9-3423-D2DF5A02C1E4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97" creationId="{430CFBA1-2DA9-C536-D5A8-B517685D8B56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98" creationId="{7DD17627-346F-7819-F3F0-EE8802CA558B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105" creationId="{AADD2A16-A679-9FCF-5324-117C11BFC092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106" creationId="{EA54C553-CB43-C44A-4C2B-456E726F59B7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108" creationId="{43A5D814-C718-8B79-799B-365BBF9B2773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109" creationId="{3EBA9040-0C4D-3CBF-60A4-2639C8345DA9}"/>
          </ac:spMkLst>
        </pc:spChg>
        <pc:spChg chg="add del mod modVis">
          <ac:chgData name="Doerfler, Lena" userId="aeb0559f-200d-4a58-9e6d-125e1b704bf8" providerId="ADAL" clId="{2F42D7B1-B962-445E-8485-41980C3AF6B0}" dt="2023-03-10T13:40:22.848" v="10811"/>
          <ac:spMkLst>
            <pc:docMk/>
            <pc:sldMk cId="1726008001" sldId="5424"/>
            <ac:spMk id="111" creationId="{31D0CD68-F86F-C78E-AACA-39798BF08262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115" creationId="{76DFEC40-3AFB-BCBF-8E6A-D6FA89CAC8D1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116" creationId="{20B6C323-E895-BA4D-9363-C81C143C4888}"/>
          </ac:spMkLst>
        </pc:spChg>
        <pc:spChg chg="mod">
          <ac:chgData name="Doerfler, Lena" userId="aeb0559f-200d-4a58-9e6d-125e1b704bf8" providerId="ADAL" clId="{2F42D7B1-B962-445E-8485-41980C3AF6B0}" dt="2023-03-10T13:39:35.365" v="10697" actId="165"/>
          <ac:spMkLst>
            <pc:docMk/>
            <pc:sldMk cId="1726008001" sldId="5424"/>
            <ac:spMk id="117" creationId="{282F90BA-BF24-3151-CE07-3A3B900DCB1B}"/>
          </ac:spMkLst>
        </pc:spChg>
        <pc:spChg chg="mod">
          <ac:chgData name="Doerfler, Lena" userId="aeb0559f-200d-4a58-9e6d-125e1b704bf8" providerId="ADAL" clId="{2F42D7B1-B962-445E-8485-41980C3AF6B0}" dt="2023-03-10T13:35:53.114" v="10609" actId="165"/>
          <ac:spMkLst>
            <pc:docMk/>
            <pc:sldMk cId="1726008001" sldId="5424"/>
            <ac:spMk id="118" creationId="{29CECACE-5AD8-894C-FFBF-521064AE12BA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21" creationId="{EC5B1246-F04D-88A6-5DB2-64CBDE0613F9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22" creationId="{3AEA9BF5-490C-7479-C439-1DE1F0171C95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23" creationId="{7EB22CD4-072D-2688-BEE2-4E2F3BBD570F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28" creationId="{8A49145E-9C44-08EA-CF8C-3FFEE0A8FBC9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29" creationId="{49F24511-5DF7-EF1F-B207-D45DEFDABB78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31" creationId="{01DD4D43-A8AF-A73C-2E7B-83C09D8E90F1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32" creationId="{0F8FB08B-74E9-C4EE-2585-9B9F76C87D7E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34" creationId="{E58FF3D1-BD72-999C-B39F-1ADAFD81A2A3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35" creationId="{18E536BB-ED72-4912-A852-AC30F1678CDE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36" creationId="{76956D20-4111-C6B5-94E6-A59A276104E0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38" creationId="{C9A5C5DD-474A-92CF-F7EF-3C9BB3FF640C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39" creationId="{1E9216F4-025E-5778-95CE-D2CD8248D093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41" creationId="{022CE8DC-122D-8FC8-5C4D-3654E35BEC70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42" creationId="{39D27414-CAFE-96D8-5EAC-D6B1008105CF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43" creationId="{C3099413-6A4B-08C8-72DA-54DBE794AAF6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45" creationId="{B3AF62E7-4DE2-96DE-8BD0-CDB32CF154C4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46" creationId="{C4AB6B99-89C2-5475-31C7-16F2AC54E60A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47" creationId="{202F00B6-B258-A987-8162-7949313930FA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48" creationId="{51DE21A6-3ED1-D7E7-B6B5-4B94E37EAB3D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49" creationId="{41F03D45-074C-4827-08A6-61D6A554735E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51" creationId="{988DC86A-B1FA-3DC3-3C67-5238080D56F7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52" creationId="{E6890543-78F5-7E1D-9339-E399BBF371F0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53" creationId="{E00A840A-FD93-11A7-B9C3-875B27E3C295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56" creationId="{27DE5EAD-B9EC-4D65-33F1-D7CE669E1BEA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57" creationId="{55A365CE-C743-A861-67F8-B9B9FBF0D0A8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58" creationId="{A1DF0655-4DEE-B35A-67BF-E3720E7C7EAC}"/>
          </ac:spMkLst>
        </pc:spChg>
        <pc:spChg chg="mod">
          <ac:chgData name="Doerfler, Lena" userId="aeb0559f-200d-4a58-9e6d-125e1b704bf8" providerId="ADAL" clId="{2F42D7B1-B962-445E-8485-41980C3AF6B0}" dt="2023-03-10T13:40:00.043" v="10713" actId="165"/>
          <ac:spMkLst>
            <pc:docMk/>
            <pc:sldMk cId="1726008001" sldId="5424"/>
            <ac:spMk id="159" creationId="{CDF99B2B-0C1F-FE83-1178-B6807EA1DBBD}"/>
          </ac:spMkLst>
        </pc:spChg>
        <pc:grpChg chg="add del mod">
          <ac:chgData name="Doerfler, Lena" userId="aeb0559f-200d-4a58-9e6d-125e1b704bf8" providerId="ADAL" clId="{2F42D7B1-B962-445E-8485-41980C3AF6B0}" dt="2023-04-06T13:59:53.452" v="12137"/>
          <ac:grpSpMkLst>
            <pc:docMk/>
            <pc:sldMk cId="1726008001" sldId="5424"/>
            <ac:grpSpMk id="4" creationId="{A5C567FF-A615-05B7-D083-3BF016A22A3E}"/>
          </ac:grpSpMkLst>
        </pc:grpChg>
        <pc:grpChg chg="mod ord topLvl">
          <ac:chgData name="Doerfler, Lena" userId="aeb0559f-200d-4a58-9e6d-125e1b704bf8" providerId="ADAL" clId="{2F42D7B1-B962-445E-8485-41980C3AF6B0}" dt="2023-03-10T13:40:34.189" v="10847"/>
          <ac:grpSpMkLst>
            <pc:docMk/>
            <pc:sldMk cId="1726008001" sldId="5424"/>
            <ac:grpSpMk id="10" creationId="{044ABD28-4C51-2A74-AC39-14DE6AB7B499}"/>
          </ac:grpSpMkLst>
        </pc:grpChg>
        <pc:grpChg chg="del">
          <ac:chgData name="Doerfler, Lena" userId="aeb0559f-200d-4a58-9e6d-125e1b704bf8" providerId="ADAL" clId="{2F42D7B1-B962-445E-8485-41980C3AF6B0}" dt="2023-03-10T13:35:53.114" v="10609" actId="165"/>
          <ac:grpSpMkLst>
            <pc:docMk/>
            <pc:sldMk cId="1726008001" sldId="5424"/>
            <ac:grpSpMk id="15" creationId="{0869F3BC-A2C9-A47C-EDAA-2A3BE4CFD466}"/>
          </ac:grpSpMkLst>
        </pc:grpChg>
        <pc:grpChg chg="add del mod replST">
          <ac:chgData name="Doerfler, Lena" userId="aeb0559f-200d-4a58-9e6d-125e1b704bf8" providerId="ADAL" clId="{2F42D7B1-B962-445E-8485-41980C3AF6B0}" dt="2023-04-11T13:24:51.830" v="12380" actId="478"/>
          <ac:grpSpMkLst>
            <pc:docMk/>
            <pc:sldMk cId="1726008001" sldId="5424"/>
            <ac:grpSpMk id="15" creationId="{8C4C017B-A183-6129-D68B-54ABCC4BC28F}"/>
          </ac:grpSpMkLst>
        </pc:grpChg>
        <pc:grpChg chg="mod">
          <ac:chgData name="Doerfler, Lena" userId="aeb0559f-200d-4a58-9e6d-125e1b704bf8" providerId="ADAL" clId="{2F42D7B1-B962-445E-8485-41980C3AF6B0}" dt="2023-03-10T13:35:53.114" v="10609" actId="165"/>
          <ac:grpSpMkLst>
            <pc:docMk/>
            <pc:sldMk cId="1726008001" sldId="5424"/>
            <ac:grpSpMk id="16" creationId="{CF566757-0027-83D5-297D-169A06E9D783}"/>
          </ac:grpSpMkLst>
        </pc:grpChg>
        <pc:grpChg chg="del mod ord topLvl">
          <ac:chgData name="Doerfler, Lena" userId="aeb0559f-200d-4a58-9e6d-125e1b704bf8" providerId="ADAL" clId="{2F42D7B1-B962-445E-8485-41980C3AF6B0}" dt="2023-04-05T13:41:00.971" v="11336" actId="478"/>
          <ac:grpSpMkLst>
            <pc:docMk/>
            <pc:sldMk cId="1726008001" sldId="5424"/>
            <ac:grpSpMk id="19" creationId="{49388BD2-B1E7-6A16-F0D3-EAE1AB55B2D8}"/>
          </ac:grpSpMkLst>
        </pc:grpChg>
        <pc:grpChg chg="del">
          <ac:chgData name="Doerfler, Lena" userId="aeb0559f-200d-4a58-9e6d-125e1b704bf8" providerId="ADAL" clId="{2F42D7B1-B962-445E-8485-41980C3AF6B0}" dt="2023-03-10T13:39:35.365" v="10697" actId="165"/>
          <ac:grpSpMkLst>
            <pc:docMk/>
            <pc:sldMk cId="1726008001" sldId="5424"/>
            <ac:grpSpMk id="37" creationId="{8B0DEEEC-3909-07AD-CD4A-449D3935C57A}"/>
          </ac:grpSpMkLst>
        </pc:grpChg>
        <pc:grpChg chg="mod">
          <ac:chgData name="Doerfler, Lena" userId="aeb0559f-200d-4a58-9e6d-125e1b704bf8" providerId="ADAL" clId="{2F42D7B1-B962-445E-8485-41980C3AF6B0}" dt="2023-03-10T13:35:53.114" v="10609" actId="165"/>
          <ac:grpSpMkLst>
            <pc:docMk/>
            <pc:sldMk cId="1726008001" sldId="5424"/>
            <ac:grpSpMk id="47" creationId="{C8787A0B-D77C-1DDB-03D3-A649021EB654}"/>
          </ac:grpSpMkLst>
        </pc:grpChg>
        <pc:grpChg chg="del mod ord topLvl">
          <ac:chgData name="Doerfler, Lena" userId="aeb0559f-200d-4a58-9e6d-125e1b704bf8" providerId="ADAL" clId="{2F42D7B1-B962-445E-8485-41980C3AF6B0}" dt="2023-04-05T13:40:39.531" v="11333" actId="478"/>
          <ac:grpSpMkLst>
            <pc:docMk/>
            <pc:sldMk cId="1726008001" sldId="5424"/>
            <ac:grpSpMk id="69" creationId="{BF7CDC67-5CD2-A02B-8AD7-6BAC8237C289}"/>
          </ac:grpSpMkLst>
        </pc:grpChg>
        <pc:grpChg chg="mod">
          <ac:chgData name="Doerfler, Lena" userId="aeb0559f-200d-4a58-9e6d-125e1b704bf8" providerId="ADAL" clId="{2F42D7B1-B962-445E-8485-41980C3AF6B0}" dt="2023-03-10T13:39:35.365" v="10697" actId="165"/>
          <ac:grpSpMkLst>
            <pc:docMk/>
            <pc:sldMk cId="1726008001" sldId="5424"/>
            <ac:grpSpMk id="78" creationId="{7A9DD612-4CF7-562D-ABD8-7076EA4F9DA7}"/>
          </ac:grpSpMkLst>
        </pc:grpChg>
        <pc:grpChg chg="add del">
          <ac:chgData name="Doerfler, Lena" userId="aeb0559f-200d-4a58-9e6d-125e1b704bf8" providerId="ADAL" clId="{2F42D7B1-B962-445E-8485-41980C3AF6B0}" dt="2023-03-10T13:40:00.043" v="10713" actId="165"/>
          <ac:grpSpMkLst>
            <pc:docMk/>
            <pc:sldMk cId="1726008001" sldId="5424"/>
            <ac:grpSpMk id="88" creationId="{3BDE9ECE-2001-F1C7-1606-7AF8E684B481}"/>
          </ac:grpSpMkLst>
        </pc:grpChg>
        <pc:grpChg chg="mod">
          <ac:chgData name="Doerfler, Lena" userId="aeb0559f-200d-4a58-9e6d-125e1b704bf8" providerId="ADAL" clId="{2F42D7B1-B962-445E-8485-41980C3AF6B0}" dt="2023-03-10T13:39:35.365" v="10697" actId="165"/>
          <ac:grpSpMkLst>
            <pc:docMk/>
            <pc:sldMk cId="1726008001" sldId="5424"/>
            <ac:grpSpMk id="89" creationId="{F01EE14B-4410-A1B8-49DF-CD0EFAF3811A}"/>
          </ac:grpSpMkLst>
        </pc:grpChg>
        <pc:grpChg chg="mod">
          <ac:chgData name="Doerfler, Lena" userId="aeb0559f-200d-4a58-9e6d-125e1b704bf8" providerId="ADAL" clId="{2F42D7B1-B962-445E-8485-41980C3AF6B0}" dt="2023-03-10T13:39:35.365" v="10697" actId="165"/>
          <ac:grpSpMkLst>
            <pc:docMk/>
            <pc:sldMk cId="1726008001" sldId="5424"/>
            <ac:grpSpMk id="103" creationId="{EC5475AF-D16E-2488-5083-D3DFBDAB4335}"/>
          </ac:grpSpMkLst>
        </pc:grpChg>
        <pc:grpChg chg="mod">
          <ac:chgData name="Doerfler, Lena" userId="aeb0559f-200d-4a58-9e6d-125e1b704bf8" providerId="ADAL" clId="{2F42D7B1-B962-445E-8485-41980C3AF6B0}" dt="2023-03-10T13:39:35.365" v="10697" actId="165"/>
          <ac:grpSpMkLst>
            <pc:docMk/>
            <pc:sldMk cId="1726008001" sldId="5424"/>
            <ac:grpSpMk id="104" creationId="{98889952-ADB1-7E9D-D970-96963F022FD9}"/>
          </ac:grpSpMkLst>
        </pc:grpChg>
        <pc:grpChg chg="mod">
          <ac:chgData name="Doerfler, Lena" userId="aeb0559f-200d-4a58-9e6d-125e1b704bf8" providerId="ADAL" clId="{2F42D7B1-B962-445E-8485-41980C3AF6B0}" dt="2023-03-10T13:39:35.365" v="10697" actId="165"/>
          <ac:grpSpMkLst>
            <pc:docMk/>
            <pc:sldMk cId="1726008001" sldId="5424"/>
            <ac:grpSpMk id="107" creationId="{E13853FF-66AD-8145-B39B-B74B94BFE077}"/>
          </ac:grpSpMkLst>
        </pc:grpChg>
        <pc:grpChg chg="mod">
          <ac:chgData name="Doerfler, Lena" userId="aeb0559f-200d-4a58-9e6d-125e1b704bf8" providerId="ADAL" clId="{2F42D7B1-B962-445E-8485-41980C3AF6B0}" dt="2023-03-10T13:39:35.365" v="10697" actId="165"/>
          <ac:grpSpMkLst>
            <pc:docMk/>
            <pc:sldMk cId="1726008001" sldId="5424"/>
            <ac:grpSpMk id="114" creationId="{63CEE0DF-A596-9F51-6ECD-20B0BFACC388}"/>
          </ac:grpSpMkLst>
        </pc:grpChg>
        <pc:grpChg chg="mod">
          <ac:chgData name="Doerfler, Lena" userId="aeb0559f-200d-4a58-9e6d-125e1b704bf8" providerId="ADAL" clId="{2F42D7B1-B962-445E-8485-41980C3AF6B0}" dt="2023-03-10T13:40:00.043" v="10713" actId="165"/>
          <ac:grpSpMkLst>
            <pc:docMk/>
            <pc:sldMk cId="1726008001" sldId="5424"/>
            <ac:grpSpMk id="120" creationId="{2023653F-84F4-CFE0-B73D-C50576D90E21}"/>
          </ac:grpSpMkLst>
        </pc:grpChg>
        <pc:grpChg chg="mod">
          <ac:chgData name="Doerfler, Lena" userId="aeb0559f-200d-4a58-9e6d-125e1b704bf8" providerId="ADAL" clId="{2F42D7B1-B962-445E-8485-41980C3AF6B0}" dt="2023-03-10T13:40:00.043" v="10713" actId="165"/>
          <ac:grpSpMkLst>
            <pc:docMk/>
            <pc:sldMk cId="1726008001" sldId="5424"/>
            <ac:grpSpMk id="127" creationId="{C698BB5D-9175-A822-CE9C-57C8D6322A4F}"/>
          </ac:grpSpMkLst>
        </pc:grpChg>
        <pc:grpChg chg="mod">
          <ac:chgData name="Doerfler, Lena" userId="aeb0559f-200d-4a58-9e6d-125e1b704bf8" providerId="ADAL" clId="{2F42D7B1-B962-445E-8485-41980C3AF6B0}" dt="2023-03-10T13:40:00.043" v="10713" actId="165"/>
          <ac:grpSpMkLst>
            <pc:docMk/>
            <pc:sldMk cId="1726008001" sldId="5424"/>
            <ac:grpSpMk id="130" creationId="{92D960D7-E7DA-2DC7-2373-45D0FFDC0959}"/>
          </ac:grpSpMkLst>
        </pc:grpChg>
        <pc:grpChg chg="mod">
          <ac:chgData name="Doerfler, Lena" userId="aeb0559f-200d-4a58-9e6d-125e1b704bf8" providerId="ADAL" clId="{2F42D7B1-B962-445E-8485-41980C3AF6B0}" dt="2023-03-10T13:40:00.043" v="10713" actId="165"/>
          <ac:grpSpMkLst>
            <pc:docMk/>
            <pc:sldMk cId="1726008001" sldId="5424"/>
            <ac:grpSpMk id="133" creationId="{7CBF6547-C167-E82F-CA68-24EC0EA0B535}"/>
          </ac:grpSpMkLst>
        </pc:grpChg>
        <pc:grpChg chg="mod">
          <ac:chgData name="Doerfler, Lena" userId="aeb0559f-200d-4a58-9e6d-125e1b704bf8" providerId="ADAL" clId="{2F42D7B1-B962-445E-8485-41980C3AF6B0}" dt="2023-03-10T13:40:00.043" v="10713" actId="165"/>
          <ac:grpSpMkLst>
            <pc:docMk/>
            <pc:sldMk cId="1726008001" sldId="5424"/>
            <ac:grpSpMk id="137" creationId="{EDA9DCA3-8832-5344-3981-C45FD298A06B}"/>
          </ac:grpSpMkLst>
        </pc:grpChg>
        <pc:grpChg chg="mod">
          <ac:chgData name="Doerfler, Lena" userId="aeb0559f-200d-4a58-9e6d-125e1b704bf8" providerId="ADAL" clId="{2F42D7B1-B962-445E-8485-41980C3AF6B0}" dt="2023-03-10T13:40:00.043" v="10713" actId="165"/>
          <ac:grpSpMkLst>
            <pc:docMk/>
            <pc:sldMk cId="1726008001" sldId="5424"/>
            <ac:grpSpMk id="140" creationId="{1B93B4A4-C710-FF1E-C70F-F678D48425FE}"/>
          </ac:grpSpMkLst>
        </pc:grpChg>
        <pc:grpChg chg="mod">
          <ac:chgData name="Doerfler, Lena" userId="aeb0559f-200d-4a58-9e6d-125e1b704bf8" providerId="ADAL" clId="{2F42D7B1-B962-445E-8485-41980C3AF6B0}" dt="2023-03-10T13:40:00.043" v="10713" actId="165"/>
          <ac:grpSpMkLst>
            <pc:docMk/>
            <pc:sldMk cId="1726008001" sldId="5424"/>
            <ac:grpSpMk id="150" creationId="{0385728E-FCCB-EC4D-27B1-320B8744F236}"/>
          </ac:grpSpMkLst>
        </pc:grpChg>
        <pc:grpChg chg="del mod ord topLvl">
          <ac:chgData name="Doerfler, Lena" userId="aeb0559f-200d-4a58-9e6d-125e1b704bf8" providerId="ADAL" clId="{2F42D7B1-B962-445E-8485-41980C3AF6B0}" dt="2023-04-05T13:40:39.531" v="11333" actId="478"/>
          <ac:grpSpMkLst>
            <pc:docMk/>
            <pc:sldMk cId="1726008001" sldId="5424"/>
            <ac:grpSpMk id="163" creationId="{7AA2046D-60CA-D1FC-C041-F5DE280A0FDB}"/>
          </ac:grpSpMkLst>
        </pc:grpChg>
        <pc:grpChg chg="del mod ord topLvl">
          <ac:chgData name="Doerfler, Lena" userId="aeb0559f-200d-4a58-9e6d-125e1b704bf8" providerId="ADAL" clId="{2F42D7B1-B962-445E-8485-41980C3AF6B0}" dt="2023-04-05T13:41:00.971" v="11336" actId="478"/>
          <ac:grpSpMkLst>
            <pc:docMk/>
            <pc:sldMk cId="1726008001" sldId="5424"/>
            <ac:grpSpMk id="164" creationId="{4DE9C810-BC41-8A8B-09C5-F0C1721BF26B}"/>
          </ac:grpSpMkLst>
        </pc:grpChg>
        <pc:grpChg chg="mod ord topLvl">
          <ac:chgData name="Doerfler, Lena" userId="aeb0559f-200d-4a58-9e6d-125e1b704bf8" providerId="ADAL" clId="{2F42D7B1-B962-445E-8485-41980C3AF6B0}" dt="2023-03-10T13:40:34.184" v="10841"/>
          <ac:grpSpMkLst>
            <pc:docMk/>
            <pc:sldMk cId="1726008001" sldId="5424"/>
            <ac:grpSpMk id="165" creationId="{B487121B-C6BD-8605-674F-3992CCDB36E2}"/>
          </ac:grpSpMkLst>
        </pc:grpChg>
        <pc:graphicFrameChg chg="mod">
          <ac:chgData name="Doerfler, Lena" userId="aeb0559f-200d-4a58-9e6d-125e1b704bf8" providerId="ADAL" clId="{2F42D7B1-B962-445E-8485-41980C3AF6B0}" dt="2023-03-10T13:40:34.197" v="10869"/>
          <ac:graphicFrameMkLst>
            <pc:docMk/>
            <pc:sldMk cId="1726008001" sldId="5424"/>
            <ac:graphicFrameMk id="9" creationId="{3A79ADB0-4697-6A80-5B75-4D35B261F17A}"/>
          </ac:graphicFrameMkLst>
        </pc:graphicFrameChg>
        <pc:picChg chg="add del mod ord modCrop">
          <ac:chgData name="Doerfler, Lena" userId="aeb0559f-200d-4a58-9e6d-125e1b704bf8" providerId="ADAL" clId="{2F42D7B1-B962-445E-8485-41980C3AF6B0}" dt="2023-03-10T13:38:44.006" v="10688" actId="478"/>
          <ac:picMkLst>
            <pc:docMk/>
            <pc:sldMk cId="1726008001" sldId="5424"/>
            <ac:picMk id="4" creationId="{DBDA9DBA-BD28-B45E-D613-21BCD17B22E2}"/>
          </ac:picMkLst>
        </pc:picChg>
        <pc:picChg chg="mod topLvl">
          <ac:chgData name="Doerfler, Lena" userId="aeb0559f-200d-4a58-9e6d-125e1b704bf8" providerId="ADAL" clId="{2F42D7B1-B962-445E-8485-41980C3AF6B0}" dt="2023-04-06T13:59:53.454" v="12138"/>
          <ac:picMkLst>
            <pc:docMk/>
            <pc:sldMk cId="1726008001" sldId="5424"/>
            <ac:picMk id="5" creationId="{4A77E301-F306-9C24-45B7-88EDC756B4C9}"/>
          </ac:picMkLst>
        </pc:picChg>
        <pc:picChg chg="add del mod">
          <ac:chgData name="Doerfler, Lena" userId="aeb0559f-200d-4a58-9e6d-125e1b704bf8" providerId="ADAL" clId="{2F42D7B1-B962-445E-8485-41980C3AF6B0}" dt="2023-04-05T13:40:39.531" v="11333" actId="478"/>
          <ac:picMkLst>
            <pc:docMk/>
            <pc:sldMk cId="1726008001" sldId="5424"/>
            <ac:picMk id="5" creationId="{F266374E-EFE8-019D-AF26-7CE29B332C5F}"/>
          </ac:picMkLst>
        </pc:picChg>
        <pc:picChg chg="add del mod ord">
          <ac:chgData name="Doerfler, Lena" userId="aeb0559f-200d-4a58-9e6d-125e1b704bf8" providerId="ADAL" clId="{2F42D7B1-B962-445E-8485-41980C3AF6B0}" dt="2023-04-05T13:41:00.971" v="11336" actId="478"/>
          <ac:picMkLst>
            <pc:docMk/>
            <pc:sldMk cId="1726008001" sldId="5424"/>
            <ac:picMk id="15" creationId="{E7A8BE43-4869-DE8F-EFB8-08BDAD325DE5}"/>
          </ac:picMkLst>
        </pc:picChg>
        <pc:picChg chg="del mod topLvl">
          <ac:chgData name="Doerfler, Lena" userId="aeb0559f-200d-4a58-9e6d-125e1b704bf8" providerId="ADAL" clId="{2F42D7B1-B962-445E-8485-41980C3AF6B0}" dt="2023-03-10T13:36:23.203" v="10644" actId="478"/>
          <ac:picMkLst>
            <pc:docMk/>
            <pc:sldMk cId="1726008001" sldId="5424"/>
            <ac:picMk id="17" creationId="{C4FF57D1-C10E-2E81-8463-360C113B1BBF}"/>
          </ac:picMkLst>
        </pc:picChg>
        <pc:picChg chg="mod">
          <ac:chgData name="Doerfler, Lena" userId="aeb0559f-200d-4a58-9e6d-125e1b704bf8" providerId="ADAL" clId="{2F42D7B1-B962-445E-8485-41980C3AF6B0}" dt="2023-03-10T13:35:53.114" v="10609" actId="165"/>
          <ac:picMkLst>
            <pc:docMk/>
            <pc:sldMk cId="1726008001" sldId="5424"/>
            <ac:picMk id="57" creationId="{1862B110-2417-20B9-D198-0BBAF609ABBE}"/>
          </ac:picMkLst>
        </pc:picChg>
        <pc:picChg chg="mod">
          <ac:chgData name="Doerfler, Lena" userId="aeb0559f-200d-4a58-9e6d-125e1b704bf8" providerId="ADAL" clId="{2F42D7B1-B962-445E-8485-41980C3AF6B0}" dt="2023-03-10T13:35:53.114" v="10609" actId="165"/>
          <ac:picMkLst>
            <pc:docMk/>
            <pc:sldMk cId="1726008001" sldId="5424"/>
            <ac:picMk id="58" creationId="{CB2EA38F-D929-5C8E-912A-781CA6C61FE5}"/>
          </ac:picMkLst>
        </pc:picChg>
        <pc:picChg chg="mod">
          <ac:chgData name="Doerfler, Lena" userId="aeb0559f-200d-4a58-9e6d-125e1b704bf8" providerId="ADAL" clId="{2F42D7B1-B962-445E-8485-41980C3AF6B0}" dt="2023-03-10T13:35:53.114" v="10609" actId="165"/>
          <ac:picMkLst>
            <pc:docMk/>
            <pc:sldMk cId="1726008001" sldId="5424"/>
            <ac:picMk id="59" creationId="{909E8A71-F178-BC5E-8AAE-524114460ADA}"/>
          </ac:picMkLst>
        </pc:picChg>
        <pc:picChg chg="del mod topLvl">
          <ac:chgData name="Doerfler, Lena" userId="aeb0559f-200d-4a58-9e6d-125e1b704bf8" providerId="ADAL" clId="{2F42D7B1-B962-445E-8485-41980C3AF6B0}" dt="2023-03-10T13:39:44.158" v="10706" actId="478"/>
          <ac:picMkLst>
            <pc:docMk/>
            <pc:sldMk cId="1726008001" sldId="5424"/>
            <ac:picMk id="64" creationId="{1D579567-AFDD-4BBB-1A2A-0474E9882125}"/>
          </ac:picMkLst>
        </pc:picChg>
        <pc:picChg chg="del mod topLvl">
          <ac:chgData name="Doerfler, Lena" userId="aeb0559f-200d-4a58-9e6d-125e1b704bf8" providerId="ADAL" clId="{2F42D7B1-B962-445E-8485-41980C3AF6B0}" dt="2023-03-10T13:39:49.158" v="10708" actId="478"/>
          <ac:picMkLst>
            <pc:docMk/>
            <pc:sldMk cId="1726008001" sldId="5424"/>
            <ac:picMk id="65" creationId="{1B7CEC9C-FB07-9E7D-E354-CDA907A9281C}"/>
          </ac:picMkLst>
        </pc:picChg>
        <pc:picChg chg="del mod topLvl">
          <ac:chgData name="Doerfler, Lena" userId="aeb0559f-200d-4a58-9e6d-125e1b704bf8" providerId="ADAL" clId="{2F42D7B1-B962-445E-8485-41980C3AF6B0}" dt="2023-03-10T13:40:09.090" v="10717" actId="478"/>
          <ac:picMkLst>
            <pc:docMk/>
            <pc:sldMk cId="1726008001" sldId="5424"/>
            <ac:picMk id="66" creationId="{C1093591-E583-709B-903B-FD29863EC908}"/>
          </ac:picMkLst>
        </pc:picChg>
        <pc:picChg chg="del mod topLvl">
          <ac:chgData name="Doerfler, Lena" userId="aeb0559f-200d-4a58-9e6d-125e1b704bf8" providerId="ADAL" clId="{2F42D7B1-B962-445E-8485-41980C3AF6B0}" dt="2023-03-10T13:40:02.094" v="10714" actId="478"/>
          <ac:picMkLst>
            <pc:docMk/>
            <pc:sldMk cId="1726008001" sldId="5424"/>
            <ac:picMk id="67" creationId="{68597CAF-F652-CC14-01A5-C388FE51D094}"/>
          </ac:picMkLst>
        </pc:picChg>
        <pc:picChg chg="del mod ord topLvl">
          <ac:chgData name="Doerfler, Lena" userId="aeb0559f-200d-4a58-9e6d-125e1b704bf8" providerId="ADAL" clId="{2F42D7B1-B962-445E-8485-41980C3AF6B0}" dt="2023-04-05T13:40:39.531" v="11333" actId="478"/>
          <ac:picMkLst>
            <pc:docMk/>
            <pc:sldMk cId="1726008001" sldId="5424"/>
            <ac:picMk id="68" creationId="{C1084D1B-7B36-91EA-BBFD-A99232BBDBF0}"/>
          </ac:picMkLst>
        </pc:picChg>
        <pc:picChg chg="add del mod ord">
          <ac:chgData name="Doerfler, Lena" userId="aeb0559f-200d-4a58-9e6d-125e1b704bf8" providerId="ADAL" clId="{2F42D7B1-B962-445E-8485-41980C3AF6B0}" dt="2023-03-10T13:45:32.977" v="10923" actId="478"/>
          <ac:picMkLst>
            <pc:docMk/>
            <pc:sldMk cId="1726008001" sldId="5424"/>
            <ac:picMk id="92" creationId="{552724F9-C11C-2A86-9ECA-C53403FDABE3}"/>
          </ac:picMkLst>
        </pc:picChg>
        <pc:picChg chg="add del mod ord">
          <ac:chgData name="Doerfler, Lena" userId="aeb0559f-200d-4a58-9e6d-125e1b704bf8" providerId="ADAL" clId="{2F42D7B1-B962-445E-8485-41980C3AF6B0}" dt="2023-03-10T13:44:28.495" v="10900" actId="478"/>
          <ac:picMkLst>
            <pc:docMk/>
            <pc:sldMk cId="1726008001" sldId="5424"/>
            <ac:picMk id="94" creationId="{DC362758-8BC3-10F6-EB85-019AF0A0AFBA}"/>
          </ac:picMkLst>
        </pc:picChg>
        <pc:picChg chg="add del mod ord">
          <ac:chgData name="Doerfler, Lena" userId="aeb0559f-200d-4a58-9e6d-125e1b704bf8" providerId="ADAL" clId="{2F42D7B1-B962-445E-8485-41980C3AF6B0}" dt="2023-03-10T13:45:23.847" v="10920" actId="478"/>
          <ac:picMkLst>
            <pc:docMk/>
            <pc:sldMk cId="1726008001" sldId="5424"/>
            <ac:picMk id="95" creationId="{32A0A9DA-E7EA-84EB-8BF7-B606FEA97128}"/>
          </ac:picMkLst>
        </pc:picChg>
        <pc:picChg chg="mod">
          <ac:chgData name="Doerfler, Lena" userId="aeb0559f-200d-4a58-9e6d-125e1b704bf8" providerId="ADAL" clId="{2F42D7B1-B962-445E-8485-41980C3AF6B0}" dt="2023-03-10T13:39:35.365" v="10697" actId="165"/>
          <ac:picMkLst>
            <pc:docMk/>
            <pc:sldMk cId="1726008001" sldId="5424"/>
            <ac:picMk id="99" creationId="{8BE47525-463D-3753-D36B-7F5196C2C4EB}"/>
          </ac:picMkLst>
        </pc:picChg>
        <pc:picChg chg="mod">
          <ac:chgData name="Doerfler, Lena" userId="aeb0559f-200d-4a58-9e6d-125e1b704bf8" providerId="ADAL" clId="{2F42D7B1-B962-445E-8485-41980C3AF6B0}" dt="2023-03-10T13:39:35.365" v="10697" actId="165"/>
          <ac:picMkLst>
            <pc:docMk/>
            <pc:sldMk cId="1726008001" sldId="5424"/>
            <ac:picMk id="100" creationId="{D251C2A7-1897-04D4-C902-84E1D04F5872}"/>
          </ac:picMkLst>
        </pc:picChg>
        <pc:picChg chg="mod">
          <ac:chgData name="Doerfler, Lena" userId="aeb0559f-200d-4a58-9e6d-125e1b704bf8" providerId="ADAL" clId="{2F42D7B1-B962-445E-8485-41980C3AF6B0}" dt="2023-03-10T13:39:35.365" v="10697" actId="165"/>
          <ac:picMkLst>
            <pc:docMk/>
            <pc:sldMk cId="1726008001" sldId="5424"/>
            <ac:picMk id="101" creationId="{53E1083A-C228-4EFD-001A-FCD7C5458AA2}"/>
          </ac:picMkLst>
        </pc:picChg>
        <pc:picChg chg="add del mod ord modCrop">
          <ac:chgData name="Doerfler, Lena" userId="aeb0559f-200d-4a58-9e6d-125e1b704bf8" providerId="ADAL" clId="{2F42D7B1-B962-445E-8485-41980C3AF6B0}" dt="2023-03-10T13:44:59.423" v="10907" actId="478"/>
          <ac:picMkLst>
            <pc:docMk/>
            <pc:sldMk cId="1726008001" sldId="5424"/>
            <ac:picMk id="102" creationId="{BDD2484A-30AF-C07A-D6D6-842E3690425D}"/>
          </ac:picMkLst>
        </pc:picChg>
        <pc:picChg chg="add del mod ord">
          <ac:chgData name="Doerfler, Lena" userId="aeb0559f-200d-4a58-9e6d-125e1b704bf8" providerId="ADAL" clId="{2F42D7B1-B962-445E-8485-41980C3AF6B0}" dt="2023-03-10T13:44:15.255" v="10893" actId="478"/>
          <ac:picMkLst>
            <pc:docMk/>
            <pc:sldMk cId="1726008001" sldId="5424"/>
            <ac:picMk id="110" creationId="{78233488-8C33-C0CC-7B46-6F511A071E2F}"/>
          </ac:picMkLst>
        </pc:picChg>
        <pc:picChg chg="add del mod">
          <ac:chgData name="Doerfler, Lena" userId="aeb0559f-200d-4a58-9e6d-125e1b704bf8" providerId="ADAL" clId="{2F42D7B1-B962-445E-8485-41980C3AF6B0}" dt="2023-03-10T13:41:42.261" v="10884"/>
          <ac:picMkLst>
            <pc:docMk/>
            <pc:sldMk cId="1726008001" sldId="5424"/>
            <ac:picMk id="113" creationId="{972BA7FC-39D2-09EB-F295-05F1F5487F73}"/>
          </ac:picMkLst>
        </pc:picChg>
        <pc:picChg chg="add del mod">
          <ac:chgData name="Doerfler, Lena" userId="aeb0559f-200d-4a58-9e6d-125e1b704bf8" providerId="ADAL" clId="{2F42D7B1-B962-445E-8485-41980C3AF6B0}" dt="2023-03-13T10:29:41.271" v="10983" actId="478"/>
          <ac:picMkLst>
            <pc:docMk/>
            <pc:sldMk cId="1726008001" sldId="5424"/>
            <ac:picMk id="119" creationId="{971FAFB2-79E7-5DDB-4241-771700A72E97}"/>
          </ac:picMkLst>
        </pc:picChg>
        <pc:picChg chg="mod">
          <ac:chgData name="Doerfler, Lena" userId="aeb0559f-200d-4a58-9e6d-125e1b704bf8" providerId="ADAL" clId="{2F42D7B1-B962-445E-8485-41980C3AF6B0}" dt="2023-03-10T13:40:00.043" v="10713" actId="165"/>
          <ac:picMkLst>
            <pc:docMk/>
            <pc:sldMk cId="1726008001" sldId="5424"/>
            <ac:picMk id="124" creationId="{8B956FBA-ED1C-12C4-F2CE-0B890D7DDE62}"/>
          </ac:picMkLst>
        </pc:picChg>
        <pc:picChg chg="mod">
          <ac:chgData name="Doerfler, Lena" userId="aeb0559f-200d-4a58-9e6d-125e1b704bf8" providerId="ADAL" clId="{2F42D7B1-B962-445E-8485-41980C3AF6B0}" dt="2023-03-10T13:40:00.043" v="10713" actId="165"/>
          <ac:picMkLst>
            <pc:docMk/>
            <pc:sldMk cId="1726008001" sldId="5424"/>
            <ac:picMk id="125" creationId="{D702E31E-83D8-DE7F-827B-543721B29A26}"/>
          </ac:picMkLst>
        </pc:picChg>
        <pc:picChg chg="mod">
          <ac:chgData name="Doerfler, Lena" userId="aeb0559f-200d-4a58-9e6d-125e1b704bf8" providerId="ADAL" clId="{2F42D7B1-B962-445E-8485-41980C3AF6B0}" dt="2023-03-10T13:40:00.043" v="10713" actId="165"/>
          <ac:picMkLst>
            <pc:docMk/>
            <pc:sldMk cId="1726008001" sldId="5424"/>
            <ac:picMk id="126" creationId="{3F77E694-3FF6-BEC2-393E-A3A41A504BD0}"/>
          </ac:picMkLst>
        </pc:picChg>
        <pc:picChg chg="add del mod ord">
          <ac:chgData name="Doerfler, Lena" userId="aeb0559f-200d-4a58-9e6d-125e1b704bf8" providerId="ADAL" clId="{2F42D7B1-B962-445E-8485-41980C3AF6B0}" dt="2023-03-13T10:32:01.511" v="11031" actId="478"/>
          <ac:picMkLst>
            <pc:docMk/>
            <pc:sldMk cId="1726008001" sldId="5424"/>
            <ac:picMk id="144" creationId="{8A5DFFFC-9A4D-D330-3A1D-68A8210708A3}"/>
          </ac:picMkLst>
        </pc:picChg>
        <pc:picChg chg="add del mod">
          <ac:chgData name="Doerfler, Lena" userId="aeb0559f-200d-4a58-9e6d-125e1b704bf8" providerId="ADAL" clId="{2F42D7B1-B962-445E-8485-41980C3AF6B0}" dt="2023-04-05T13:40:40.685" v="11334" actId="478"/>
          <ac:picMkLst>
            <pc:docMk/>
            <pc:sldMk cId="1726008001" sldId="5424"/>
            <ac:picMk id="161" creationId="{5D6AD285-78CA-15EE-FF31-326B30E351E7}"/>
          </ac:picMkLst>
        </pc:picChg>
        <pc:picChg chg="add del mod">
          <ac:chgData name="Doerfler, Lena" userId="aeb0559f-200d-4a58-9e6d-125e1b704bf8" providerId="ADAL" clId="{2F42D7B1-B962-445E-8485-41980C3AF6B0}" dt="2023-04-05T13:41:00.971" v="11336" actId="478"/>
          <ac:picMkLst>
            <pc:docMk/>
            <pc:sldMk cId="1726008001" sldId="5424"/>
            <ac:picMk id="162" creationId="{11C4ABF1-0A45-1609-0000-DB4F11E33C11}"/>
          </ac:picMkLst>
        </pc:picChg>
        <pc:picChg chg="add mod">
          <ac:chgData name="Doerfler, Lena" userId="aeb0559f-200d-4a58-9e6d-125e1b704bf8" providerId="ADAL" clId="{2F42D7B1-B962-445E-8485-41980C3AF6B0}" dt="2023-03-10T13:45:58.975" v="10930"/>
          <ac:picMkLst>
            <pc:docMk/>
            <pc:sldMk cId="1726008001" sldId="5424"/>
            <ac:picMk id="166" creationId="{9B677859-2808-7B9D-F1E7-8C3B201AE6F2}"/>
          </ac:picMkLst>
        </pc:picChg>
        <pc:cxnChg chg="mod">
          <ac:chgData name="Doerfler, Lena" userId="aeb0559f-200d-4a58-9e6d-125e1b704bf8" providerId="ADAL" clId="{2F42D7B1-B962-445E-8485-41980C3AF6B0}" dt="2023-03-10T13:35:53.114" v="10609" actId="165"/>
          <ac:cxnSpMkLst>
            <pc:docMk/>
            <pc:sldMk cId="1726008001" sldId="5424"/>
            <ac:cxnSpMk id="41" creationId="{8CD73677-D617-0F43-5F55-CFF8E177460F}"/>
          </ac:cxnSpMkLst>
        </pc:cxnChg>
        <pc:cxnChg chg="mod">
          <ac:chgData name="Doerfler, Lena" userId="aeb0559f-200d-4a58-9e6d-125e1b704bf8" providerId="ADAL" clId="{2F42D7B1-B962-445E-8485-41980C3AF6B0}" dt="2023-03-10T13:35:53.114" v="10609" actId="165"/>
          <ac:cxnSpMkLst>
            <pc:docMk/>
            <pc:sldMk cId="1726008001" sldId="5424"/>
            <ac:cxnSpMk id="42" creationId="{80B2EE34-F696-FBF0-B941-F7368FC1E422}"/>
          </ac:cxnSpMkLst>
        </pc:cxnChg>
        <pc:cxnChg chg="mod">
          <ac:chgData name="Doerfler, Lena" userId="aeb0559f-200d-4a58-9e6d-125e1b704bf8" providerId="ADAL" clId="{2F42D7B1-B962-445E-8485-41980C3AF6B0}" dt="2023-03-10T13:35:53.114" v="10609" actId="165"/>
          <ac:cxnSpMkLst>
            <pc:docMk/>
            <pc:sldMk cId="1726008001" sldId="5424"/>
            <ac:cxnSpMk id="50" creationId="{9FE9C6A6-3C62-CE21-700B-3AC76B3EA72D}"/>
          </ac:cxnSpMkLst>
        </pc:cxnChg>
        <pc:cxnChg chg="mod">
          <ac:chgData name="Doerfler, Lena" userId="aeb0559f-200d-4a58-9e6d-125e1b704bf8" providerId="ADAL" clId="{2F42D7B1-B962-445E-8485-41980C3AF6B0}" dt="2023-03-10T13:35:53.114" v="10609" actId="165"/>
          <ac:cxnSpMkLst>
            <pc:docMk/>
            <pc:sldMk cId="1726008001" sldId="5424"/>
            <ac:cxnSpMk id="51" creationId="{0C6484E1-CD10-9C7D-1C18-AC490771AEFD}"/>
          </ac:cxnSpMkLst>
        </pc:cxnChg>
        <pc:cxnChg chg="mod">
          <ac:chgData name="Doerfler, Lena" userId="aeb0559f-200d-4a58-9e6d-125e1b704bf8" providerId="ADAL" clId="{2F42D7B1-B962-445E-8485-41980C3AF6B0}" dt="2023-03-10T13:35:53.114" v="10609" actId="165"/>
          <ac:cxnSpMkLst>
            <pc:docMk/>
            <pc:sldMk cId="1726008001" sldId="5424"/>
            <ac:cxnSpMk id="52" creationId="{B8510A3B-893A-65CD-1513-C21BA617E2F3}"/>
          </ac:cxnSpMkLst>
        </pc:cxnChg>
        <pc:cxnChg chg="mod">
          <ac:chgData name="Doerfler, Lena" userId="aeb0559f-200d-4a58-9e6d-125e1b704bf8" providerId="ADAL" clId="{2F42D7B1-B962-445E-8485-41980C3AF6B0}" dt="2023-03-10T13:35:53.114" v="10609" actId="165"/>
          <ac:cxnSpMkLst>
            <pc:docMk/>
            <pc:sldMk cId="1726008001" sldId="5424"/>
            <ac:cxnSpMk id="53" creationId="{EB703026-9AAB-BB3E-DA4A-99C40161587B}"/>
          </ac:cxnSpMkLst>
        </pc:cxnChg>
        <pc:cxnChg chg="mod">
          <ac:chgData name="Doerfler, Lena" userId="aeb0559f-200d-4a58-9e6d-125e1b704bf8" providerId="ADAL" clId="{2F42D7B1-B962-445E-8485-41980C3AF6B0}" dt="2023-03-10T13:39:35.365" v="10697" actId="165"/>
          <ac:cxnSpMkLst>
            <pc:docMk/>
            <pc:sldMk cId="1726008001" sldId="5424"/>
            <ac:cxnSpMk id="82" creationId="{C7AF584C-83FD-EDAD-BEAC-FC0E009345AC}"/>
          </ac:cxnSpMkLst>
        </pc:cxnChg>
        <pc:cxnChg chg="mod">
          <ac:chgData name="Doerfler, Lena" userId="aeb0559f-200d-4a58-9e6d-125e1b704bf8" providerId="ADAL" clId="{2F42D7B1-B962-445E-8485-41980C3AF6B0}" dt="2023-04-05T13:41:00.971" v="11336" actId="478"/>
          <ac:cxnSpMkLst>
            <pc:docMk/>
            <pc:sldMk cId="1726008001" sldId="5424"/>
            <ac:cxnSpMk id="83" creationId="{5E36ABCB-4459-4672-B698-6D4549289E01}"/>
          </ac:cxnSpMkLst>
        </pc:cxnChg>
        <pc:cxnChg chg="mod">
          <ac:chgData name="Doerfler, Lena" userId="aeb0559f-200d-4a58-9e6d-125e1b704bf8" providerId="ADAL" clId="{2F42D7B1-B962-445E-8485-41980C3AF6B0}" dt="2023-03-10T13:40:00.043" v="10713" actId="165"/>
          <ac:cxnSpMkLst>
            <pc:docMk/>
            <pc:sldMk cId="1726008001" sldId="5424"/>
            <ac:cxnSpMk id="154" creationId="{B5CD0C59-DD01-08B5-AAE9-9AA0C95E3D84}"/>
          </ac:cxnSpMkLst>
        </pc:cxnChg>
        <pc:cxnChg chg="mod">
          <ac:chgData name="Doerfler, Lena" userId="aeb0559f-200d-4a58-9e6d-125e1b704bf8" providerId="ADAL" clId="{2F42D7B1-B962-445E-8485-41980C3AF6B0}" dt="2023-04-05T13:40:39.531" v="11333" actId="478"/>
          <ac:cxnSpMkLst>
            <pc:docMk/>
            <pc:sldMk cId="1726008001" sldId="5424"/>
            <ac:cxnSpMk id="155" creationId="{C9F6F0DE-D259-E67B-9EF1-9F7748844614}"/>
          </ac:cxnSpMkLst>
        </pc:cxnChg>
      </pc:sldChg>
      <pc:sldChg chg="addSp delSp modSp add mod ord modNotes modNotesTx">
        <pc:chgData name="Doerfler, Lena" userId="aeb0559f-200d-4a58-9e6d-125e1b704bf8" providerId="ADAL" clId="{2F42D7B1-B962-445E-8485-41980C3AF6B0}" dt="2023-04-14T14:09:20.924" v="14155" actId="20577"/>
        <pc:sldMkLst>
          <pc:docMk/>
          <pc:sldMk cId="2131577920" sldId="5425"/>
        </pc:sldMkLst>
        <pc:spChg chg="mod">
          <ac:chgData name="Doerfler, Lena" userId="aeb0559f-200d-4a58-9e6d-125e1b704bf8" providerId="ADAL" clId="{2F42D7B1-B962-445E-8485-41980C3AF6B0}" dt="2023-03-01T14:18:54.651" v="9418" actId="948"/>
          <ac:spMkLst>
            <pc:docMk/>
            <pc:sldMk cId="2131577920" sldId="5425"/>
            <ac:spMk id="2" creationId="{AF4BD223-E750-423D-AD55-8ED9F00CEAB5}"/>
          </ac:spMkLst>
        </pc:spChg>
        <pc:spChg chg="add mod">
          <ac:chgData name="Doerfler, Lena" userId="aeb0559f-200d-4a58-9e6d-125e1b704bf8" providerId="ADAL" clId="{2F42D7B1-B962-445E-8485-41980C3AF6B0}" dt="2023-03-01T14:18:53.692" v="8862" actId="790"/>
          <ac:spMkLst>
            <pc:docMk/>
            <pc:sldMk cId="2131577920" sldId="5425"/>
            <ac:spMk id="3" creationId="{DC9C0EAF-BEE3-B81E-8C77-73D4B43036EF}"/>
          </ac:spMkLst>
        </pc:spChg>
        <pc:spChg chg="mod">
          <ac:chgData name="Doerfler, Lena" userId="aeb0559f-200d-4a58-9e6d-125e1b704bf8" providerId="ADAL" clId="{2F42D7B1-B962-445E-8485-41980C3AF6B0}" dt="2023-03-01T14:18:53.691" v="8861" actId="790"/>
          <ac:spMkLst>
            <pc:docMk/>
            <pc:sldMk cId="2131577920" sldId="5425"/>
            <ac:spMk id="4" creationId="{49A039CA-FE9F-46EB-A697-AB22439FB7B9}"/>
          </ac:spMkLst>
        </pc:spChg>
        <pc:spChg chg="add del mod">
          <ac:chgData name="Doerfler, Lena" userId="aeb0559f-200d-4a58-9e6d-125e1b704bf8" providerId="ADAL" clId="{2F42D7B1-B962-445E-8485-41980C3AF6B0}" dt="2023-03-01T14:18:54.118" v="9135"/>
          <ac:spMkLst>
            <pc:docMk/>
            <pc:sldMk cId="2131577920" sldId="5425"/>
            <ac:spMk id="5" creationId="{4678E5FA-56FA-9472-AC46-12E08423DF55}"/>
          </ac:spMkLst>
        </pc:spChg>
        <pc:spChg chg="add mod">
          <ac:chgData name="Doerfler, Lena" userId="aeb0559f-200d-4a58-9e6d-125e1b704bf8" providerId="ADAL" clId="{2F42D7B1-B962-445E-8485-41980C3AF6B0}" dt="2023-03-01T14:18:53.696" v="8864" actId="790"/>
          <ac:spMkLst>
            <pc:docMk/>
            <pc:sldMk cId="2131577920" sldId="5425"/>
            <ac:spMk id="7" creationId="{67AC6B67-F850-F0BB-86AA-5D225B15423A}"/>
          </ac:spMkLst>
        </pc:spChg>
        <pc:spChg chg="add mod">
          <ac:chgData name="Doerfler, Lena" userId="aeb0559f-200d-4a58-9e6d-125e1b704bf8" providerId="ADAL" clId="{2F42D7B1-B962-445E-8485-41980C3AF6B0}" dt="2023-03-01T14:18:54.119" v="9136"/>
          <ac:spMkLst>
            <pc:docMk/>
            <pc:sldMk cId="2131577920" sldId="5425"/>
            <ac:spMk id="8" creationId="{670B9C5B-D41A-5A93-3513-1B6FB9858366}"/>
          </ac:spMkLst>
        </pc:spChg>
        <pc:spChg chg="add del mod modVis">
          <ac:chgData name="Doerfler, Lena" userId="aeb0559f-200d-4a58-9e6d-125e1b704bf8" providerId="ADAL" clId="{2F42D7B1-B962-445E-8485-41980C3AF6B0}" dt="2023-03-01T14:18:55.143" v="9629"/>
          <ac:spMkLst>
            <pc:docMk/>
            <pc:sldMk cId="2131577920" sldId="5425"/>
            <ac:spMk id="9" creationId="{149EDFBE-EDF5-FD66-55F2-FA0AACBA5E9E}"/>
          </ac:spMkLst>
        </pc:spChg>
        <pc:graphicFrameChg chg="mod">
          <ac:chgData name="Doerfler, Lena" userId="aeb0559f-200d-4a58-9e6d-125e1b704bf8" providerId="ADAL" clId="{2F42D7B1-B962-445E-8485-41980C3AF6B0}" dt="2023-03-01T14:18:55.147" v="9631"/>
          <ac:graphicFrameMkLst>
            <pc:docMk/>
            <pc:sldMk cId="2131577920" sldId="5425"/>
            <ac:graphicFrameMk id="6" creationId="{F158C3E0-3903-4C3F-B7C9-E28A61B3DCDE}"/>
          </ac:graphicFrameMkLst>
        </pc:graphicFrameChg>
      </pc:sldChg>
      <pc:sldChg chg="addSp delSp modSp add del mod ord modNotes">
        <pc:chgData name="Doerfler, Lena" userId="aeb0559f-200d-4a58-9e6d-125e1b704bf8" providerId="ADAL" clId="{2F42D7B1-B962-445E-8485-41980C3AF6B0}" dt="2023-03-01T14:52:58.760" v="9772" actId="47"/>
        <pc:sldMkLst>
          <pc:docMk/>
          <pc:sldMk cId="3135359392" sldId="5426"/>
        </pc:sldMkLst>
        <pc:spChg chg="mod">
          <ac:chgData name="Doerfler, Lena" userId="aeb0559f-200d-4a58-9e6d-125e1b704bf8" providerId="ADAL" clId="{2F42D7B1-B962-445E-8485-41980C3AF6B0}" dt="2023-03-01T14:18:53.702" v="8870" actId="790"/>
          <ac:spMkLst>
            <pc:docMk/>
            <pc:sldMk cId="3135359392" sldId="5426"/>
            <ac:spMk id="2" creationId="{CE84F87F-EB49-4E94-BFAA-523402F76ADF}"/>
          </ac:spMkLst>
        </pc:spChg>
        <pc:spChg chg="add mod">
          <ac:chgData name="Doerfler, Lena" userId="aeb0559f-200d-4a58-9e6d-125e1b704bf8" providerId="ADAL" clId="{2F42D7B1-B962-445E-8485-41980C3AF6B0}" dt="2023-03-01T14:18:53.703" v="8871" actId="790"/>
          <ac:spMkLst>
            <pc:docMk/>
            <pc:sldMk cId="3135359392" sldId="5426"/>
            <ac:spMk id="3" creationId="{5B6C366D-95D2-6CEC-3554-5BBAB049D595}"/>
          </ac:spMkLst>
        </pc:spChg>
        <pc:spChg chg="add del mod">
          <ac:chgData name="Doerfler, Lena" userId="aeb0559f-200d-4a58-9e6d-125e1b704bf8" providerId="ADAL" clId="{2F42D7B1-B962-445E-8485-41980C3AF6B0}" dt="2023-03-01T14:18:54.124" v="9140"/>
          <ac:spMkLst>
            <pc:docMk/>
            <pc:sldMk cId="3135359392" sldId="5426"/>
            <ac:spMk id="5" creationId="{CBFF998B-8728-2B4B-20C7-FAE7B92C451A}"/>
          </ac:spMkLst>
        </pc:spChg>
        <pc:spChg chg="add mod">
          <ac:chgData name="Doerfler, Lena" userId="aeb0559f-200d-4a58-9e6d-125e1b704bf8" providerId="ADAL" clId="{2F42D7B1-B962-445E-8485-41980C3AF6B0}" dt="2023-03-01T14:18:53.705" v="8873" actId="790"/>
          <ac:spMkLst>
            <pc:docMk/>
            <pc:sldMk cId="3135359392" sldId="5426"/>
            <ac:spMk id="6" creationId="{B169D97C-2103-CF19-21CF-A7EC3EF408AA}"/>
          </ac:spMkLst>
        </pc:spChg>
        <pc:spChg chg="add mod">
          <ac:chgData name="Doerfler, Lena" userId="aeb0559f-200d-4a58-9e6d-125e1b704bf8" providerId="ADAL" clId="{2F42D7B1-B962-445E-8485-41980C3AF6B0}" dt="2023-03-01T14:18:54.125" v="9141"/>
          <ac:spMkLst>
            <pc:docMk/>
            <pc:sldMk cId="3135359392" sldId="5426"/>
            <ac:spMk id="7" creationId="{79C00963-5268-3D10-F900-BE4885A58B40}"/>
          </ac:spMkLst>
        </pc:spChg>
      </pc:sldChg>
      <pc:sldChg chg="addSp delSp modSp add mod ord modNotes">
        <pc:chgData name="Doerfler, Lena" userId="aeb0559f-200d-4a58-9e6d-125e1b704bf8" providerId="ADAL" clId="{2F42D7B1-B962-445E-8485-41980C3AF6B0}" dt="2023-04-05T13:18:17.023" v="11196" actId="164"/>
        <pc:sldMkLst>
          <pc:docMk/>
          <pc:sldMk cId="150110918" sldId="5427"/>
        </pc:sldMkLst>
        <pc:spChg chg="mod">
          <ac:chgData name="Doerfler, Lena" userId="aeb0559f-200d-4a58-9e6d-125e1b704bf8" providerId="ADAL" clId="{2F42D7B1-B962-445E-8485-41980C3AF6B0}" dt="2023-03-01T14:18:53.714" v="8879" actId="790"/>
          <ac:spMkLst>
            <pc:docMk/>
            <pc:sldMk cId="150110918" sldId="5427"/>
            <ac:spMk id="2" creationId="{EC564122-7C24-4E05-A89C-FF1EB561C91C}"/>
          </ac:spMkLst>
        </pc:spChg>
        <pc:spChg chg="add mod">
          <ac:chgData name="Doerfler, Lena" userId="aeb0559f-200d-4a58-9e6d-125e1b704bf8" providerId="ADAL" clId="{2F42D7B1-B962-445E-8485-41980C3AF6B0}" dt="2023-03-01T14:18:53.725" v="8890" actId="790"/>
          <ac:spMkLst>
            <pc:docMk/>
            <pc:sldMk cId="150110918" sldId="5427"/>
            <ac:spMk id="4" creationId="{06EAECA3-2BA7-C303-3634-72526B3B0875}"/>
          </ac:spMkLst>
        </pc:spChg>
        <pc:spChg chg="add del mod">
          <ac:chgData name="Doerfler, Lena" userId="aeb0559f-200d-4a58-9e6d-125e1b704bf8" providerId="ADAL" clId="{2F42D7B1-B962-445E-8485-41980C3AF6B0}" dt="2023-03-01T14:18:54.130" v="9145"/>
          <ac:spMkLst>
            <pc:docMk/>
            <pc:sldMk cId="150110918" sldId="5427"/>
            <ac:spMk id="5" creationId="{C14510EA-F308-6B62-E728-8D7357717484}"/>
          </ac:spMkLst>
        </pc:spChg>
        <pc:spChg chg="add mod">
          <ac:chgData name="Doerfler, Lena" userId="aeb0559f-200d-4a58-9e6d-125e1b704bf8" providerId="ADAL" clId="{2F42D7B1-B962-445E-8485-41980C3AF6B0}" dt="2023-03-01T14:18:53.729" v="8892" actId="790"/>
          <ac:spMkLst>
            <pc:docMk/>
            <pc:sldMk cId="150110918" sldId="5427"/>
            <ac:spMk id="6" creationId="{B7C870F6-C1D3-1ABA-E455-5A417C4AAF5F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7" creationId="{EDAAA555-663C-237F-51DF-C33F9FE4B86F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8" creationId="{149FCE66-DE3A-9A9E-932A-DB64AF141C0F}"/>
          </ac:spMkLst>
        </pc:spChg>
        <pc:spChg chg="add mod">
          <ac:chgData name="Doerfler, Lena" userId="aeb0559f-200d-4a58-9e6d-125e1b704bf8" providerId="ADAL" clId="{2F42D7B1-B962-445E-8485-41980C3AF6B0}" dt="2023-03-01T14:18:54.132" v="9146"/>
          <ac:spMkLst>
            <pc:docMk/>
            <pc:sldMk cId="150110918" sldId="5427"/>
            <ac:spMk id="10" creationId="{E03B9670-F46D-8B26-C2C1-19BE72DE9B7C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11" creationId="{1B48F966-6751-8FAB-ACDA-F4A02B05CE72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15" creationId="{13516D75-5114-8ECD-1032-4027282C9D61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17" creationId="{8A81FAD1-EAFF-CBC8-9BF9-531ADC8B12E9}"/>
          </ac:spMkLst>
        </pc:spChg>
        <pc:spChg chg="add del 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19" creationId="{90A729DC-BF5E-7245-C18D-644DCA4C79F8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20" creationId="{F648CFE0-1367-F87B-2DD3-44D8A31E8788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21" creationId="{759EE3D9-6B65-0D0C-89CB-E73B39E5314D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22" creationId="{B24E6724-8C02-F6F2-F627-32B2D9D61354}"/>
          </ac:spMkLst>
        </pc:spChg>
        <pc:spChg chg="mod topLvl">
          <ac:chgData name="Doerfler, Lena" userId="aeb0559f-200d-4a58-9e6d-125e1b704bf8" providerId="ADAL" clId="{2F42D7B1-B962-445E-8485-41980C3AF6B0}" dt="2023-04-05T13:18:17.023" v="11196" actId="164"/>
          <ac:spMkLst>
            <pc:docMk/>
            <pc:sldMk cId="150110918" sldId="5427"/>
            <ac:spMk id="23" creationId="{1138C689-C2DC-4C02-56B9-BE37F900EAF5}"/>
          </ac:spMkLst>
        </pc:spChg>
        <pc:grpChg chg="add del mod">
          <ac:chgData name="Doerfler, Lena" userId="aeb0559f-200d-4a58-9e6d-125e1b704bf8" providerId="ADAL" clId="{2F42D7B1-B962-445E-8485-41980C3AF6B0}" dt="2023-04-05T13:14:36.523" v="11190" actId="165"/>
          <ac:grpSpMkLst>
            <pc:docMk/>
            <pc:sldMk cId="150110918" sldId="5427"/>
            <ac:grpSpMk id="3" creationId="{1ED431EC-BA66-EDA6-CB50-7D54ACA0B181}"/>
          </ac:grpSpMkLst>
        </pc:grpChg>
        <pc:grpChg chg="add mod">
          <ac:chgData name="Doerfler, Lena" userId="aeb0559f-200d-4a58-9e6d-125e1b704bf8" providerId="ADAL" clId="{2F42D7B1-B962-445E-8485-41980C3AF6B0}" dt="2023-04-05T13:18:17.023" v="11196" actId="164"/>
          <ac:grpSpMkLst>
            <pc:docMk/>
            <pc:sldMk cId="150110918" sldId="5427"/>
            <ac:grpSpMk id="5" creationId="{C663EF09-27A5-FFEF-D903-5F14DAD2234F}"/>
          </ac:grpSpMkLst>
        </pc:grpChg>
      </pc:sldChg>
      <pc:sldChg chg="addSp delSp modSp add mod ord modNotes">
        <pc:chgData name="Doerfler, Lena" userId="aeb0559f-200d-4a58-9e6d-125e1b704bf8" providerId="ADAL" clId="{2F42D7B1-B962-445E-8485-41980C3AF6B0}" dt="2023-03-01T14:18:54.139" v="9151"/>
        <pc:sldMkLst>
          <pc:docMk/>
          <pc:sldMk cId="3127035269" sldId="5428"/>
        </pc:sldMkLst>
        <pc:spChg chg="mod">
          <ac:chgData name="Doerfler, Lena" userId="aeb0559f-200d-4a58-9e6d-125e1b704bf8" providerId="ADAL" clId="{2F42D7B1-B962-445E-8485-41980C3AF6B0}" dt="2023-03-01T14:18:53.738" v="8898" actId="790"/>
          <ac:spMkLst>
            <pc:docMk/>
            <pc:sldMk cId="3127035269" sldId="5428"/>
            <ac:spMk id="2" creationId="{AFE051B7-4B17-4304-9F3D-FD078856BA01}"/>
          </ac:spMkLst>
        </pc:spChg>
        <pc:spChg chg="mod">
          <ac:chgData name="Doerfler, Lena" userId="aeb0559f-200d-4a58-9e6d-125e1b704bf8" providerId="ADAL" clId="{2F42D7B1-B962-445E-8485-41980C3AF6B0}" dt="2023-03-01T14:18:53.753" v="8910" actId="790"/>
          <ac:spMkLst>
            <pc:docMk/>
            <pc:sldMk cId="3127035269" sldId="5428"/>
            <ac:spMk id="3" creationId="{4910CDE6-2667-4A2B-B621-A9C6C0943621}"/>
          </ac:spMkLst>
        </pc:spChg>
        <pc:spChg chg="add mod">
          <ac:chgData name="Doerfler, Lena" userId="aeb0559f-200d-4a58-9e6d-125e1b704bf8" providerId="ADAL" clId="{2F42D7B1-B962-445E-8485-41980C3AF6B0}" dt="2023-03-01T14:18:53.841" v="8997" actId="790"/>
          <ac:spMkLst>
            <pc:docMk/>
            <pc:sldMk cId="3127035269" sldId="5428"/>
            <ac:spMk id="7" creationId="{8E7C7963-D5EA-D11B-9EDD-BD02DD4A541C}"/>
          </ac:spMkLst>
        </pc:spChg>
        <pc:spChg chg="mod">
          <ac:chgData name="Doerfler, Lena" userId="aeb0559f-200d-4a58-9e6d-125e1b704bf8" providerId="ADAL" clId="{2F42D7B1-B962-445E-8485-41980C3AF6B0}" dt="2023-03-01T14:18:53.769" v="8925" actId="790"/>
          <ac:spMkLst>
            <pc:docMk/>
            <pc:sldMk cId="3127035269" sldId="5428"/>
            <ac:spMk id="11" creationId="{936D6CF2-6FE1-441E-B9B6-E98C4D5E6175}"/>
          </ac:spMkLst>
        </pc:spChg>
        <pc:spChg chg="add del mod">
          <ac:chgData name="Doerfler, Lena" userId="aeb0559f-200d-4a58-9e6d-125e1b704bf8" providerId="ADAL" clId="{2F42D7B1-B962-445E-8485-41980C3AF6B0}" dt="2023-03-01T14:18:54.137" v="9150"/>
          <ac:spMkLst>
            <pc:docMk/>
            <pc:sldMk cId="3127035269" sldId="5428"/>
            <ac:spMk id="29" creationId="{A39636E7-20C0-2087-B46E-27CD97769C1B}"/>
          </ac:spMkLst>
        </pc:spChg>
        <pc:spChg chg="add mod">
          <ac:chgData name="Doerfler, Lena" userId="aeb0559f-200d-4a58-9e6d-125e1b704bf8" providerId="ADAL" clId="{2F42D7B1-B962-445E-8485-41980C3AF6B0}" dt="2023-03-01T14:18:53.845" v="8999" actId="790"/>
          <ac:spMkLst>
            <pc:docMk/>
            <pc:sldMk cId="3127035269" sldId="5428"/>
            <ac:spMk id="30" creationId="{8231248D-25D8-B3AF-F805-8B9CA083B329}"/>
          </ac:spMkLst>
        </pc:spChg>
        <pc:spChg chg="mod">
          <ac:chgData name="Doerfler, Lena" userId="aeb0559f-200d-4a58-9e6d-125e1b704bf8" providerId="ADAL" clId="{2F42D7B1-B962-445E-8485-41980C3AF6B0}" dt="2023-03-01T14:18:53.814" v="8969" actId="790"/>
          <ac:spMkLst>
            <pc:docMk/>
            <pc:sldMk cId="3127035269" sldId="5428"/>
            <ac:spMk id="66" creationId="{BD2CABC9-2D89-42B7-AF30-297321043BB4}"/>
          </ac:spMkLst>
        </pc:spChg>
        <pc:spChg chg="mod">
          <ac:chgData name="Doerfler, Lena" userId="aeb0559f-200d-4a58-9e6d-125e1b704bf8" providerId="ADAL" clId="{2F42D7B1-B962-445E-8485-41980C3AF6B0}" dt="2023-03-01T14:18:53.829" v="8984" actId="790"/>
          <ac:spMkLst>
            <pc:docMk/>
            <pc:sldMk cId="3127035269" sldId="5428"/>
            <ac:spMk id="93" creationId="{D9AB3540-8970-4F49-8A0E-726604D25A54}"/>
          </ac:spMkLst>
        </pc:spChg>
        <pc:spChg chg="mod">
          <ac:chgData name="Doerfler, Lena" userId="aeb0559f-200d-4a58-9e6d-125e1b704bf8" providerId="ADAL" clId="{2F42D7B1-B962-445E-8485-41980C3AF6B0}" dt="2023-03-01T14:18:53.830" v="8985" actId="790"/>
          <ac:spMkLst>
            <pc:docMk/>
            <pc:sldMk cId="3127035269" sldId="5428"/>
            <ac:spMk id="94" creationId="{4A42A77F-4CA2-47FA-95B7-9F3F59A3B431}"/>
          </ac:spMkLst>
        </pc:spChg>
        <pc:spChg chg="mod">
          <ac:chgData name="Doerfler, Lena" userId="aeb0559f-200d-4a58-9e6d-125e1b704bf8" providerId="ADAL" clId="{2F42D7B1-B962-445E-8485-41980C3AF6B0}" dt="2023-03-01T14:18:53.831" v="8986" actId="790"/>
          <ac:spMkLst>
            <pc:docMk/>
            <pc:sldMk cId="3127035269" sldId="5428"/>
            <ac:spMk id="95" creationId="{D1456288-4529-457D-AEDB-7BCC4B63A3D1}"/>
          </ac:spMkLst>
        </pc:spChg>
        <pc:spChg chg="mod">
          <ac:chgData name="Doerfler, Lena" userId="aeb0559f-200d-4a58-9e6d-125e1b704bf8" providerId="ADAL" clId="{2F42D7B1-B962-445E-8485-41980C3AF6B0}" dt="2023-03-01T14:18:53.815" v="8970" actId="790"/>
          <ac:spMkLst>
            <pc:docMk/>
            <pc:sldMk cId="3127035269" sldId="5428"/>
            <ac:spMk id="100" creationId="{35F7514F-4AA6-4BB6-872F-1333B8452E8B}"/>
          </ac:spMkLst>
        </pc:spChg>
        <pc:spChg chg="mod">
          <ac:chgData name="Doerfler, Lena" userId="aeb0559f-200d-4a58-9e6d-125e1b704bf8" providerId="ADAL" clId="{2F42D7B1-B962-445E-8485-41980C3AF6B0}" dt="2023-03-01T14:18:53.812" v="8967" actId="790"/>
          <ac:spMkLst>
            <pc:docMk/>
            <pc:sldMk cId="3127035269" sldId="5428"/>
            <ac:spMk id="107" creationId="{A3EEFF1E-6C5D-4DAF-BC14-BD26A927301E}"/>
          </ac:spMkLst>
        </pc:spChg>
        <pc:spChg chg="mod">
          <ac:chgData name="Doerfler, Lena" userId="aeb0559f-200d-4a58-9e6d-125e1b704bf8" providerId="ADAL" clId="{2F42D7B1-B962-445E-8485-41980C3AF6B0}" dt="2023-03-01T14:18:53.779" v="8934" actId="790"/>
          <ac:spMkLst>
            <pc:docMk/>
            <pc:sldMk cId="3127035269" sldId="5428"/>
            <ac:spMk id="142" creationId="{3C03EA5A-D8C2-42DC-9500-CE52BF525275}"/>
          </ac:spMkLst>
        </pc:spChg>
        <pc:spChg chg="mod">
          <ac:chgData name="Doerfler, Lena" userId="aeb0559f-200d-4a58-9e6d-125e1b704bf8" providerId="ADAL" clId="{2F42D7B1-B962-445E-8485-41980C3AF6B0}" dt="2023-03-01T14:18:53.754" v="8911" actId="790"/>
          <ac:spMkLst>
            <pc:docMk/>
            <pc:sldMk cId="3127035269" sldId="5428"/>
            <ac:spMk id="147" creationId="{8C74C9DC-0F99-4D5F-AE6E-BD595B03F328}"/>
          </ac:spMkLst>
        </pc:spChg>
        <pc:spChg chg="mod">
          <ac:chgData name="Doerfler, Lena" userId="aeb0559f-200d-4a58-9e6d-125e1b704bf8" providerId="ADAL" clId="{2F42D7B1-B962-445E-8485-41980C3AF6B0}" dt="2023-03-01T14:18:53.755" v="8912" actId="790"/>
          <ac:spMkLst>
            <pc:docMk/>
            <pc:sldMk cId="3127035269" sldId="5428"/>
            <ac:spMk id="148" creationId="{034F35AF-5449-4C9E-8E21-89FAC0BAE92F}"/>
          </ac:spMkLst>
        </pc:spChg>
        <pc:spChg chg="mod">
          <ac:chgData name="Doerfler, Lena" userId="aeb0559f-200d-4a58-9e6d-125e1b704bf8" providerId="ADAL" clId="{2F42D7B1-B962-445E-8485-41980C3AF6B0}" dt="2023-03-01T14:18:53.756" v="8913" actId="790"/>
          <ac:spMkLst>
            <pc:docMk/>
            <pc:sldMk cId="3127035269" sldId="5428"/>
            <ac:spMk id="149" creationId="{D460750A-3C68-419D-BFFA-1851E2E1EA8F}"/>
          </ac:spMkLst>
        </pc:spChg>
        <pc:spChg chg="mod">
          <ac:chgData name="Doerfler, Lena" userId="aeb0559f-200d-4a58-9e6d-125e1b704bf8" providerId="ADAL" clId="{2F42D7B1-B962-445E-8485-41980C3AF6B0}" dt="2023-03-01T14:18:53.757" v="8914" actId="790"/>
          <ac:spMkLst>
            <pc:docMk/>
            <pc:sldMk cId="3127035269" sldId="5428"/>
            <ac:spMk id="150" creationId="{F069F003-DDC7-4183-AE13-4A8FBC4E6D75}"/>
          </ac:spMkLst>
        </pc:spChg>
        <pc:spChg chg="mod">
          <ac:chgData name="Doerfler, Lena" userId="aeb0559f-200d-4a58-9e6d-125e1b704bf8" providerId="ADAL" clId="{2F42D7B1-B962-445E-8485-41980C3AF6B0}" dt="2023-03-01T14:18:53.780" v="8935" actId="790"/>
          <ac:spMkLst>
            <pc:docMk/>
            <pc:sldMk cId="3127035269" sldId="5428"/>
            <ac:spMk id="156" creationId="{90E3219B-AA2B-43EA-98E4-9ED9D7F53991}"/>
          </ac:spMkLst>
        </pc:spChg>
        <pc:spChg chg="mod">
          <ac:chgData name="Doerfler, Lena" userId="aeb0559f-200d-4a58-9e6d-125e1b704bf8" providerId="ADAL" clId="{2F42D7B1-B962-445E-8485-41980C3AF6B0}" dt="2023-03-01T14:18:53.811" v="8966" actId="790"/>
          <ac:spMkLst>
            <pc:docMk/>
            <pc:sldMk cId="3127035269" sldId="5428"/>
            <ac:spMk id="159" creationId="{1E95FBFF-3B6A-45EB-93C7-8A59226DA3A3}"/>
          </ac:spMkLst>
        </pc:spChg>
        <pc:spChg chg="mod">
          <ac:chgData name="Doerfler, Lena" userId="aeb0559f-200d-4a58-9e6d-125e1b704bf8" providerId="ADAL" clId="{2F42D7B1-B962-445E-8485-41980C3AF6B0}" dt="2023-03-01T14:18:53.822" v="8977" actId="790"/>
          <ac:spMkLst>
            <pc:docMk/>
            <pc:sldMk cId="3127035269" sldId="5428"/>
            <ac:spMk id="160" creationId="{A58A3418-C11D-4F1B-8A41-E08AB3EE1D3F}"/>
          </ac:spMkLst>
        </pc:spChg>
        <pc:spChg chg="mod">
          <ac:chgData name="Doerfler, Lena" userId="aeb0559f-200d-4a58-9e6d-125e1b704bf8" providerId="ADAL" clId="{2F42D7B1-B962-445E-8485-41980C3AF6B0}" dt="2023-03-01T14:18:53.823" v="8978" actId="790"/>
          <ac:spMkLst>
            <pc:docMk/>
            <pc:sldMk cId="3127035269" sldId="5428"/>
            <ac:spMk id="161" creationId="{19E1C3AC-FC37-4200-A286-EC892DB76C79}"/>
          </ac:spMkLst>
        </pc:spChg>
        <pc:spChg chg="mod">
          <ac:chgData name="Doerfler, Lena" userId="aeb0559f-200d-4a58-9e6d-125e1b704bf8" providerId="ADAL" clId="{2F42D7B1-B962-445E-8485-41980C3AF6B0}" dt="2023-03-01T14:18:53.824" v="8979" actId="790"/>
          <ac:spMkLst>
            <pc:docMk/>
            <pc:sldMk cId="3127035269" sldId="5428"/>
            <ac:spMk id="162" creationId="{38A41C1F-E9DF-4BEC-A980-F74DC828EEAF}"/>
          </ac:spMkLst>
        </pc:spChg>
        <pc:spChg chg="mod">
          <ac:chgData name="Doerfler, Lena" userId="aeb0559f-200d-4a58-9e6d-125e1b704bf8" providerId="ADAL" clId="{2F42D7B1-B962-445E-8485-41980C3AF6B0}" dt="2023-03-01T14:18:53.825" v="8980" actId="790"/>
          <ac:spMkLst>
            <pc:docMk/>
            <pc:sldMk cId="3127035269" sldId="5428"/>
            <ac:spMk id="165" creationId="{743C1597-E154-4905-BF00-8C345DA961D1}"/>
          </ac:spMkLst>
        </pc:spChg>
        <pc:spChg chg="mod">
          <ac:chgData name="Doerfler, Lena" userId="aeb0559f-200d-4a58-9e6d-125e1b704bf8" providerId="ADAL" clId="{2F42D7B1-B962-445E-8485-41980C3AF6B0}" dt="2023-03-01T14:18:53.804" v="8959" actId="790"/>
          <ac:spMkLst>
            <pc:docMk/>
            <pc:sldMk cId="3127035269" sldId="5428"/>
            <ac:spMk id="169" creationId="{C4D8B9BA-3B9D-4F3E-B766-24C33EE538F7}"/>
          </ac:spMkLst>
        </pc:spChg>
        <pc:spChg chg="mod">
          <ac:chgData name="Doerfler, Lena" userId="aeb0559f-200d-4a58-9e6d-125e1b704bf8" providerId="ADAL" clId="{2F42D7B1-B962-445E-8485-41980C3AF6B0}" dt="2023-03-01T14:18:53.805" v="8960" actId="790"/>
          <ac:spMkLst>
            <pc:docMk/>
            <pc:sldMk cId="3127035269" sldId="5428"/>
            <ac:spMk id="170" creationId="{9BF82540-4863-4487-86D8-06DD25F2CC42}"/>
          </ac:spMkLst>
        </pc:spChg>
        <pc:spChg chg="mod">
          <ac:chgData name="Doerfler, Lena" userId="aeb0559f-200d-4a58-9e6d-125e1b704bf8" providerId="ADAL" clId="{2F42D7B1-B962-445E-8485-41980C3AF6B0}" dt="2023-03-01T14:18:53.806" v="8961" actId="790"/>
          <ac:spMkLst>
            <pc:docMk/>
            <pc:sldMk cId="3127035269" sldId="5428"/>
            <ac:spMk id="171" creationId="{7079C9C0-138A-4601-A05B-7573342E9125}"/>
          </ac:spMkLst>
        </pc:spChg>
        <pc:spChg chg="mod">
          <ac:chgData name="Doerfler, Lena" userId="aeb0559f-200d-4a58-9e6d-125e1b704bf8" providerId="ADAL" clId="{2F42D7B1-B962-445E-8485-41980C3AF6B0}" dt="2023-03-01T14:18:53.826" v="8981" actId="790"/>
          <ac:spMkLst>
            <pc:docMk/>
            <pc:sldMk cId="3127035269" sldId="5428"/>
            <ac:spMk id="172" creationId="{870F05DD-682B-48F1-A4A1-ED7CF4C8CC35}"/>
          </ac:spMkLst>
        </pc:spChg>
        <pc:spChg chg="mod">
          <ac:chgData name="Doerfler, Lena" userId="aeb0559f-200d-4a58-9e6d-125e1b704bf8" providerId="ADAL" clId="{2F42D7B1-B962-445E-8485-41980C3AF6B0}" dt="2023-03-01T14:18:53.813" v="8968" actId="790"/>
          <ac:spMkLst>
            <pc:docMk/>
            <pc:sldMk cId="3127035269" sldId="5428"/>
            <ac:spMk id="173" creationId="{2122B5BF-1EB5-46B4-B5B5-9A4FC3E33622}"/>
          </ac:spMkLst>
        </pc:spChg>
        <pc:spChg chg="mod">
          <ac:chgData name="Doerfler, Lena" userId="aeb0559f-200d-4a58-9e6d-125e1b704bf8" providerId="ADAL" clId="{2F42D7B1-B962-445E-8485-41980C3AF6B0}" dt="2023-03-01T14:18:53.807" v="8962" actId="790"/>
          <ac:spMkLst>
            <pc:docMk/>
            <pc:sldMk cId="3127035269" sldId="5428"/>
            <ac:spMk id="176" creationId="{95A879AA-1866-434B-9ECF-B483009B693A}"/>
          </ac:spMkLst>
        </pc:spChg>
        <pc:spChg chg="mod">
          <ac:chgData name="Doerfler, Lena" userId="aeb0559f-200d-4a58-9e6d-125e1b704bf8" providerId="ADAL" clId="{2F42D7B1-B962-445E-8485-41980C3AF6B0}" dt="2023-03-01T14:18:53.808" v="8963" actId="790"/>
          <ac:spMkLst>
            <pc:docMk/>
            <pc:sldMk cId="3127035269" sldId="5428"/>
            <ac:spMk id="177" creationId="{8BA77858-452B-47BE-98EF-08D1F608896B}"/>
          </ac:spMkLst>
        </pc:spChg>
        <pc:spChg chg="mod">
          <ac:chgData name="Doerfler, Lena" userId="aeb0559f-200d-4a58-9e6d-125e1b704bf8" providerId="ADAL" clId="{2F42D7B1-B962-445E-8485-41980C3AF6B0}" dt="2023-03-01T14:18:53.781" v="8936" actId="790"/>
          <ac:spMkLst>
            <pc:docMk/>
            <pc:sldMk cId="3127035269" sldId="5428"/>
            <ac:spMk id="179" creationId="{09DF55E9-BBE2-49D5-AB15-D0C1E7765158}"/>
          </ac:spMkLst>
        </pc:spChg>
        <pc:spChg chg="mod">
          <ac:chgData name="Doerfler, Lena" userId="aeb0559f-200d-4a58-9e6d-125e1b704bf8" providerId="ADAL" clId="{2F42D7B1-B962-445E-8485-41980C3AF6B0}" dt="2023-03-01T14:18:53.832" v="8987" actId="790"/>
          <ac:spMkLst>
            <pc:docMk/>
            <pc:sldMk cId="3127035269" sldId="5428"/>
            <ac:spMk id="180" creationId="{162626FE-9B24-4EF1-AB62-3D5837AB8F3A}"/>
          </ac:spMkLst>
        </pc:spChg>
        <pc:spChg chg="mod">
          <ac:chgData name="Doerfler, Lena" userId="aeb0559f-200d-4a58-9e6d-125e1b704bf8" providerId="ADAL" clId="{2F42D7B1-B962-445E-8485-41980C3AF6B0}" dt="2023-03-01T14:18:53.833" v="8988" actId="790"/>
          <ac:spMkLst>
            <pc:docMk/>
            <pc:sldMk cId="3127035269" sldId="5428"/>
            <ac:spMk id="181" creationId="{C2114BF6-DD62-4EE0-9C56-C7921BFACE20}"/>
          </ac:spMkLst>
        </pc:spChg>
        <pc:spChg chg="mod">
          <ac:chgData name="Doerfler, Lena" userId="aeb0559f-200d-4a58-9e6d-125e1b704bf8" providerId="ADAL" clId="{2F42D7B1-B962-445E-8485-41980C3AF6B0}" dt="2023-03-01T14:18:53.834" v="8989" actId="790"/>
          <ac:spMkLst>
            <pc:docMk/>
            <pc:sldMk cId="3127035269" sldId="5428"/>
            <ac:spMk id="182" creationId="{0F822059-4CF3-4D6D-8FC7-AA956ACE3BDB}"/>
          </ac:spMkLst>
        </pc:spChg>
        <pc:spChg chg="mod">
          <ac:chgData name="Doerfler, Lena" userId="aeb0559f-200d-4a58-9e6d-125e1b704bf8" providerId="ADAL" clId="{2F42D7B1-B962-445E-8485-41980C3AF6B0}" dt="2023-03-01T14:18:53.817" v="8972" actId="790"/>
          <ac:spMkLst>
            <pc:docMk/>
            <pc:sldMk cId="3127035269" sldId="5428"/>
            <ac:spMk id="183" creationId="{9823F9F1-FF3F-4FF5-AD4F-EA406F38B4D3}"/>
          </ac:spMkLst>
        </pc:spChg>
        <pc:spChg chg="mod">
          <ac:chgData name="Doerfler, Lena" userId="aeb0559f-200d-4a58-9e6d-125e1b704bf8" providerId="ADAL" clId="{2F42D7B1-B962-445E-8485-41980C3AF6B0}" dt="2023-03-01T14:18:53.758" v="8915" actId="790"/>
          <ac:spMkLst>
            <pc:docMk/>
            <pc:sldMk cId="3127035269" sldId="5428"/>
            <ac:spMk id="184" creationId="{B2F20D70-0F46-41C0-AA24-0820F799BF15}"/>
          </ac:spMkLst>
        </pc:spChg>
        <pc:spChg chg="mod">
          <ac:chgData name="Doerfler, Lena" userId="aeb0559f-200d-4a58-9e6d-125e1b704bf8" providerId="ADAL" clId="{2F42D7B1-B962-445E-8485-41980C3AF6B0}" dt="2023-03-01T14:18:53.818" v="8973" actId="790"/>
          <ac:spMkLst>
            <pc:docMk/>
            <pc:sldMk cId="3127035269" sldId="5428"/>
            <ac:spMk id="185" creationId="{8512C8B7-840F-4C42-8B19-99485DA5140A}"/>
          </ac:spMkLst>
        </pc:spChg>
        <pc:spChg chg="mod">
          <ac:chgData name="Doerfler, Lena" userId="aeb0559f-200d-4a58-9e6d-125e1b704bf8" providerId="ADAL" clId="{2F42D7B1-B962-445E-8485-41980C3AF6B0}" dt="2023-03-01T14:18:53.782" v="8937" actId="790"/>
          <ac:spMkLst>
            <pc:docMk/>
            <pc:sldMk cId="3127035269" sldId="5428"/>
            <ac:spMk id="186" creationId="{D1916E11-6BD0-4D7E-9E53-EFAA3426E503}"/>
          </ac:spMkLst>
        </pc:spChg>
        <pc:spChg chg="mod">
          <ac:chgData name="Doerfler, Lena" userId="aeb0559f-200d-4a58-9e6d-125e1b704bf8" providerId="ADAL" clId="{2F42D7B1-B962-445E-8485-41980C3AF6B0}" dt="2023-03-01T14:18:53.784" v="8939" actId="790"/>
          <ac:spMkLst>
            <pc:docMk/>
            <pc:sldMk cId="3127035269" sldId="5428"/>
            <ac:spMk id="187" creationId="{3736F1FE-51C5-4F2F-B0E8-A3A265DE8FE6}"/>
          </ac:spMkLst>
        </pc:spChg>
        <pc:spChg chg="mod">
          <ac:chgData name="Doerfler, Lena" userId="aeb0559f-200d-4a58-9e6d-125e1b704bf8" providerId="ADAL" clId="{2F42D7B1-B962-445E-8485-41980C3AF6B0}" dt="2023-03-01T14:18:53.785" v="8940" actId="790"/>
          <ac:spMkLst>
            <pc:docMk/>
            <pc:sldMk cId="3127035269" sldId="5428"/>
            <ac:spMk id="188" creationId="{D1CD53D2-F5FB-4B08-9574-408CD54FBE68}"/>
          </ac:spMkLst>
        </pc:spChg>
        <pc:spChg chg="mod">
          <ac:chgData name="Doerfler, Lena" userId="aeb0559f-200d-4a58-9e6d-125e1b704bf8" providerId="ADAL" clId="{2F42D7B1-B962-445E-8485-41980C3AF6B0}" dt="2023-03-01T14:18:53.786" v="8941" actId="790"/>
          <ac:spMkLst>
            <pc:docMk/>
            <pc:sldMk cId="3127035269" sldId="5428"/>
            <ac:spMk id="189" creationId="{20F07DA2-D892-4B8F-85D1-A05C0DD7C23E}"/>
          </ac:spMkLst>
        </pc:spChg>
        <pc:spChg chg="mod">
          <ac:chgData name="Doerfler, Lena" userId="aeb0559f-200d-4a58-9e6d-125e1b704bf8" providerId="ADAL" clId="{2F42D7B1-B962-445E-8485-41980C3AF6B0}" dt="2023-03-01T14:18:53.835" v="8990" actId="790"/>
          <ac:spMkLst>
            <pc:docMk/>
            <pc:sldMk cId="3127035269" sldId="5428"/>
            <ac:spMk id="193" creationId="{FCD78126-04B7-4B30-A54E-D812462A14A6}"/>
          </ac:spMkLst>
        </pc:spChg>
        <pc:spChg chg="mod">
          <ac:chgData name="Doerfler, Lena" userId="aeb0559f-200d-4a58-9e6d-125e1b704bf8" providerId="ADAL" clId="{2F42D7B1-B962-445E-8485-41980C3AF6B0}" dt="2023-03-01T14:18:53.836" v="8991" actId="790"/>
          <ac:spMkLst>
            <pc:docMk/>
            <pc:sldMk cId="3127035269" sldId="5428"/>
            <ac:spMk id="194" creationId="{0E012F85-B701-4D13-9BD8-12248133FCBC}"/>
          </ac:spMkLst>
        </pc:spChg>
        <pc:spChg chg="mod">
          <ac:chgData name="Doerfler, Lena" userId="aeb0559f-200d-4a58-9e6d-125e1b704bf8" providerId="ADAL" clId="{2F42D7B1-B962-445E-8485-41980C3AF6B0}" dt="2023-03-01T14:18:53.819" v="8974" actId="790"/>
          <ac:spMkLst>
            <pc:docMk/>
            <pc:sldMk cId="3127035269" sldId="5428"/>
            <ac:spMk id="195" creationId="{866964B5-C993-4C99-9536-3D959E7CABC2}"/>
          </ac:spMkLst>
        </pc:spChg>
        <pc:spChg chg="mod">
          <ac:chgData name="Doerfler, Lena" userId="aeb0559f-200d-4a58-9e6d-125e1b704bf8" providerId="ADAL" clId="{2F42D7B1-B962-445E-8485-41980C3AF6B0}" dt="2023-03-01T14:18:53.759" v="8916" actId="790"/>
          <ac:spMkLst>
            <pc:docMk/>
            <pc:sldMk cId="3127035269" sldId="5428"/>
            <ac:spMk id="197" creationId="{FFE831F4-D06B-46AD-8D62-1BA6EECDB890}"/>
          </ac:spMkLst>
        </pc:spChg>
        <pc:spChg chg="mod">
          <ac:chgData name="Doerfler, Lena" userId="aeb0559f-200d-4a58-9e6d-125e1b704bf8" providerId="ADAL" clId="{2F42D7B1-B962-445E-8485-41980C3AF6B0}" dt="2023-03-01T14:18:53.760" v="8917" actId="790"/>
          <ac:spMkLst>
            <pc:docMk/>
            <pc:sldMk cId="3127035269" sldId="5428"/>
            <ac:spMk id="198" creationId="{D4BA5CEE-F685-49AE-BA5F-BA8355471E53}"/>
          </ac:spMkLst>
        </pc:spChg>
        <pc:spChg chg="mod">
          <ac:chgData name="Doerfler, Lena" userId="aeb0559f-200d-4a58-9e6d-125e1b704bf8" providerId="ADAL" clId="{2F42D7B1-B962-445E-8485-41980C3AF6B0}" dt="2023-03-01T14:18:53.761" v="8918" actId="790"/>
          <ac:spMkLst>
            <pc:docMk/>
            <pc:sldMk cId="3127035269" sldId="5428"/>
            <ac:spMk id="199" creationId="{A504E7BC-04C6-443D-A7C7-D976091388CD}"/>
          </ac:spMkLst>
        </pc:spChg>
        <pc:spChg chg="mod">
          <ac:chgData name="Doerfler, Lena" userId="aeb0559f-200d-4a58-9e6d-125e1b704bf8" providerId="ADAL" clId="{2F42D7B1-B962-445E-8485-41980C3AF6B0}" dt="2023-03-01T14:18:53.762" v="8919" actId="790"/>
          <ac:spMkLst>
            <pc:docMk/>
            <pc:sldMk cId="3127035269" sldId="5428"/>
            <ac:spMk id="200" creationId="{C386541E-E005-4186-ABAF-4CF7EE487FDE}"/>
          </ac:spMkLst>
        </pc:spChg>
        <pc:spChg chg="mod">
          <ac:chgData name="Doerfler, Lena" userId="aeb0559f-200d-4a58-9e6d-125e1b704bf8" providerId="ADAL" clId="{2F42D7B1-B962-445E-8485-41980C3AF6B0}" dt="2023-03-01T14:18:53.763" v="8920" actId="790"/>
          <ac:spMkLst>
            <pc:docMk/>
            <pc:sldMk cId="3127035269" sldId="5428"/>
            <ac:spMk id="201" creationId="{43A288CA-4FCC-4198-A5E5-98C8167D67EE}"/>
          </ac:spMkLst>
        </pc:spChg>
        <pc:spChg chg="mod">
          <ac:chgData name="Doerfler, Lena" userId="aeb0559f-200d-4a58-9e6d-125e1b704bf8" providerId="ADAL" clId="{2F42D7B1-B962-445E-8485-41980C3AF6B0}" dt="2023-03-01T14:18:53.764" v="8921" actId="790"/>
          <ac:spMkLst>
            <pc:docMk/>
            <pc:sldMk cId="3127035269" sldId="5428"/>
            <ac:spMk id="202" creationId="{9C49880B-90AC-4E00-9D47-5552239F0049}"/>
          </ac:spMkLst>
        </pc:spChg>
        <pc:spChg chg="mod">
          <ac:chgData name="Doerfler, Lena" userId="aeb0559f-200d-4a58-9e6d-125e1b704bf8" providerId="ADAL" clId="{2F42D7B1-B962-445E-8485-41980C3AF6B0}" dt="2023-03-01T14:18:53.783" v="8938" actId="790"/>
          <ac:spMkLst>
            <pc:docMk/>
            <pc:sldMk cId="3127035269" sldId="5428"/>
            <ac:spMk id="203" creationId="{926BC9CC-EA1E-4F64-A856-6151FB547913}"/>
          </ac:spMkLst>
        </pc:spChg>
        <pc:spChg chg="mod">
          <ac:chgData name="Doerfler, Lena" userId="aeb0559f-200d-4a58-9e6d-125e1b704bf8" providerId="ADAL" clId="{2F42D7B1-B962-445E-8485-41980C3AF6B0}" dt="2023-03-01T14:18:53.787" v="8942" actId="790"/>
          <ac:spMkLst>
            <pc:docMk/>
            <pc:sldMk cId="3127035269" sldId="5428"/>
            <ac:spMk id="208" creationId="{21784E5A-7823-44D3-B1CC-14B5AF696806}"/>
          </ac:spMkLst>
        </pc:spChg>
        <pc:spChg chg="mod">
          <ac:chgData name="Doerfler, Lena" userId="aeb0559f-200d-4a58-9e6d-125e1b704bf8" providerId="ADAL" clId="{2F42D7B1-B962-445E-8485-41980C3AF6B0}" dt="2023-03-01T14:18:53.766" v="8922" actId="790"/>
          <ac:spMkLst>
            <pc:docMk/>
            <pc:sldMk cId="3127035269" sldId="5428"/>
            <ac:spMk id="209" creationId="{E56591C8-CA8F-4DAC-8796-A1A4519B31B5}"/>
          </ac:spMkLst>
        </pc:spChg>
        <pc:spChg chg="mod">
          <ac:chgData name="Doerfler, Lena" userId="aeb0559f-200d-4a58-9e6d-125e1b704bf8" providerId="ADAL" clId="{2F42D7B1-B962-445E-8485-41980C3AF6B0}" dt="2023-03-01T14:18:53.767" v="8923" actId="790"/>
          <ac:spMkLst>
            <pc:docMk/>
            <pc:sldMk cId="3127035269" sldId="5428"/>
            <ac:spMk id="210" creationId="{E9C1757D-3EEF-4631-BFC6-D0742B1399E6}"/>
          </ac:spMkLst>
        </pc:spChg>
        <pc:spChg chg="mod">
          <ac:chgData name="Doerfler, Lena" userId="aeb0559f-200d-4a58-9e6d-125e1b704bf8" providerId="ADAL" clId="{2F42D7B1-B962-445E-8485-41980C3AF6B0}" dt="2023-03-01T14:18:53.768" v="8924" actId="790"/>
          <ac:spMkLst>
            <pc:docMk/>
            <pc:sldMk cId="3127035269" sldId="5428"/>
            <ac:spMk id="211" creationId="{D0A82BB6-32C9-4153-89FE-87B70EB18F67}"/>
          </ac:spMkLst>
        </pc:spChg>
        <pc:spChg chg="mod">
          <ac:chgData name="Doerfler, Lena" userId="aeb0559f-200d-4a58-9e6d-125e1b704bf8" providerId="ADAL" clId="{2F42D7B1-B962-445E-8485-41980C3AF6B0}" dt="2023-03-01T14:18:53.788" v="8943" actId="790"/>
          <ac:spMkLst>
            <pc:docMk/>
            <pc:sldMk cId="3127035269" sldId="5428"/>
            <ac:spMk id="212" creationId="{D54A4174-9A71-4119-B221-E832E62D8F3E}"/>
          </ac:spMkLst>
        </pc:spChg>
        <pc:spChg chg="mod">
          <ac:chgData name="Doerfler, Lena" userId="aeb0559f-200d-4a58-9e6d-125e1b704bf8" providerId="ADAL" clId="{2F42D7B1-B962-445E-8485-41980C3AF6B0}" dt="2023-03-01T14:18:53.789" v="8944" actId="790"/>
          <ac:spMkLst>
            <pc:docMk/>
            <pc:sldMk cId="3127035269" sldId="5428"/>
            <ac:spMk id="214" creationId="{370453F3-837E-4A6E-9AED-1FEE1BC0B1B1}"/>
          </ac:spMkLst>
        </pc:spChg>
        <pc:spChg chg="mod">
          <ac:chgData name="Doerfler, Lena" userId="aeb0559f-200d-4a58-9e6d-125e1b704bf8" providerId="ADAL" clId="{2F42D7B1-B962-445E-8485-41980C3AF6B0}" dt="2023-03-01T14:18:53.790" v="8945" actId="790"/>
          <ac:spMkLst>
            <pc:docMk/>
            <pc:sldMk cId="3127035269" sldId="5428"/>
            <ac:spMk id="215" creationId="{162416EC-A1DC-435B-A9DE-B25ADE598EA4}"/>
          </ac:spMkLst>
        </pc:spChg>
        <pc:spChg chg="mod">
          <ac:chgData name="Doerfler, Lena" userId="aeb0559f-200d-4a58-9e6d-125e1b704bf8" providerId="ADAL" clId="{2F42D7B1-B962-445E-8485-41980C3AF6B0}" dt="2023-03-01T14:18:53.836" v="8992" actId="790"/>
          <ac:spMkLst>
            <pc:docMk/>
            <pc:sldMk cId="3127035269" sldId="5428"/>
            <ac:spMk id="216" creationId="{B0D6FABD-86E0-449C-93CC-F1BCC88CE29A}"/>
          </ac:spMkLst>
        </pc:spChg>
        <pc:spChg chg="mod">
          <ac:chgData name="Doerfler, Lena" userId="aeb0559f-200d-4a58-9e6d-125e1b704bf8" providerId="ADAL" clId="{2F42D7B1-B962-445E-8485-41980C3AF6B0}" dt="2023-03-01T14:18:53.837" v="8993" actId="790"/>
          <ac:spMkLst>
            <pc:docMk/>
            <pc:sldMk cId="3127035269" sldId="5428"/>
            <ac:spMk id="217" creationId="{919329F1-9361-4330-9B46-53FC53635EE8}"/>
          </ac:spMkLst>
        </pc:spChg>
        <pc:spChg chg="mod">
          <ac:chgData name="Doerfler, Lena" userId="aeb0559f-200d-4a58-9e6d-125e1b704bf8" providerId="ADAL" clId="{2F42D7B1-B962-445E-8485-41980C3AF6B0}" dt="2023-03-01T14:18:53.838" v="8994" actId="790"/>
          <ac:spMkLst>
            <pc:docMk/>
            <pc:sldMk cId="3127035269" sldId="5428"/>
            <ac:spMk id="218" creationId="{433AC36B-A81E-4F6F-95BD-7E62F9F33F7B}"/>
          </ac:spMkLst>
        </pc:spChg>
        <pc:spChg chg="add mod">
          <ac:chgData name="Doerfler, Lena" userId="aeb0559f-200d-4a58-9e6d-125e1b704bf8" providerId="ADAL" clId="{2F42D7B1-B962-445E-8485-41980C3AF6B0}" dt="2023-03-01T14:18:54.139" v="9151"/>
          <ac:spMkLst>
            <pc:docMk/>
            <pc:sldMk cId="3127035269" sldId="5428"/>
            <ac:spMk id="224" creationId="{34505628-23DC-5417-7E3C-D598C000959E}"/>
          </ac:spMkLst>
        </pc:spChg>
        <pc:spChg chg="mod">
          <ac:chgData name="Doerfler, Lena" userId="aeb0559f-200d-4a58-9e6d-125e1b704bf8" providerId="ADAL" clId="{2F42D7B1-B962-445E-8485-41980C3AF6B0}" dt="2023-03-01T14:18:53.839" v="8995" actId="790"/>
          <ac:spMkLst>
            <pc:docMk/>
            <pc:sldMk cId="3127035269" sldId="5428"/>
            <ac:spMk id="237" creationId="{8AF1FDF9-2F2A-4B3B-A302-B68B83AEB080}"/>
          </ac:spMkLst>
        </pc:spChg>
        <pc:spChg chg="mod">
          <ac:chgData name="Doerfler, Lena" userId="aeb0559f-200d-4a58-9e6d-125e1b704bf8" providerId="ADAL" clId="{2F42D7B1-B962-445E-8485-41980C3AF6B0}" dt="2023-03-01T14:18:53.840" v="8996" actId="790"/>
          <ac:spMkLst>
            <pc:docMk/>
            <pc:sldMk cId="3127035269" sldId="5428"/>
            <ac:spMk id="240" creationId="{5142AF1A-EE13-4064-833D-EF3528900FE7}"/>
          </ac:spMkLst>
        </pc:spChg>
        <pc:spChg chg="mod">
          <ac:chgData name="Doerfler, Lena" userId="aeb0559f-200d-4a58-9e6d-125e1b704bf8" providerId="ADAL" clId="{2F42D7B1-B962-445E-8485-41980C3AF6B0}" dt="2023-03-01T14:18:53.791" v="8946" actId="790"/>
          <ac:spMkLst>
            <pc:docMk/>
            <pc:sldMk cId="3127035269" sldId="5428"/>
            <ac:spMk id="243" creationId="{C3C69E8E-2F60-4926-894E-B2DD6601CCB3}"/>
          </ac:spMkLst>
        </pc:spChg>
        <pc:spChg chg="mod">
          <ac:chgData name="Doerfler, Lena" userId="aeb0559f-200d-4a58-9e6d-125e1b704bf8" providerId="ADAL" clId="{2F42D7B1-B962-445E-8485-41980C3AF6B0}" dt="2023-03-01T14:18:53.792" v="8947" actId="790"/>
          <ac:spMkLst>
            <pc:docMk/>
            <pc:sldMk cId="3127035269" sldId="5428"/>
            <ac:spMk id="244" creationId="{4F010B41-4F83-45C8-9404-2106BE11C343}"/>
          </ac:spMkLst>
        </pc:spChg>
        <pc:spChg chg="mod">
          <ac:chgData name="Doerfler, Lena" userId="aeb0559f-200d-4a58-9e6d-125e1b704bf8" providerId="ADAL" clId="{2F42D7B1-B962-445E-8485-41980C3AF6B0}" dt="2023-03-01T14:18:53.793" v="8948" actId="790"/>
          <ac:spMkLst>
            <pc:docMk/>
            <pc:sldMk cId="3127035269" sldId="5428"/>
            <ac:spMk id="246" creationId="{18010B86-0AD9-4FF5-8EC9-FBFBE3D44A7C}"/>
          </ac:spMkLst>
        </pc:spChg>
        <pc:spChg chg="mod">
          <ac:chgData name="Doerfler, Lena" userId="aeb0559f-200d-4a58-9e6d-125e1b704bf8" providerId="ADAL" clId="{2F42D7B1-B962-445E-8485-41980C3AF6B0}" dt="2023-03-01T14:18:53.794" v="8949" actId="790"/>
          <ac:spMkLst>
            <pc:docMk/>
            <pc:sldMk cId="3127035269" sldId="5428"/>
            <ac:spMk id="247" creationId="{E6F1ECF8-BD0B-48CC-89C3-A5A5A449180D}"/>
          </ac:spMkLst>
        </pc:spChg>
        <pc:spChg chg="mod">
          <ac:chgData name="Doerfler, Lena" userId="aeb0559f-200d-4a58-9e6d-125e1b704bf8" providerId="ADAL" clId="{2F42D7B1-B962-445E-8485-41980C3AF6B0}" dt="2023-03-01T14:18:53.796" v="8951" actId="790"/>
          <ac:spMkLst>
            <pc:docMk/>
            <pc:sldMk cId="3127035269" sldId="5428"/>
            <ac:spMk id="282" creationId="{24038352-3F5C-4BE7-AF4A-11B2EE0B950C}"/>
          </ac:spMkLst>
        </pc:spChg>
        <pc:spChg chg="mod">
          <ac:chgData name="Doerfler, Lena" userId="aeb0559f-200d-4a58-9e6d-125e1b704bf8" providerId="ADAL" clId="{2F42D7B1-B962-445E-8485-41980C3AF6B0}" dt="2023-03-01T14:18:53.797" v="8952" actId="790"/>
          <ac:spMkLst>
            <pc:docMk/>
            <pc:sldMk cId="3127035269" sldId="5428"/>
            <ac:spMk id="284" creationId="{93C90D98-1DBB-4B24-BDFE-850CAFD9D338}"/>
          </ac:spMkLst>
        </pc:spChg>
        <pc:spChg chg="mod">
          <ac:chgData name="Doerfler, Lena" userId="aeb0559f-200d-4a58-9e6d-125e1b704bf8" providerId="ADAL" clId="{2F42D7B1-B962-445E-8485-41980C3AF6B0}" dt="2023-03-01T14:18:53.739" v="8899" actId="790"/>
          <ac:spMkLst>
            <pc:docMk/>
            <pc:sldMk cId="3127035269" sldId="5428"/>
            <ac:spMk id="293" creationId="{CD744630-5B1A-4FB8-BA31-9B4A41568CBA}"/>
          </ac:spMkLst>
        </pc:spChg>
        <pc:spChg chg="mod">
          <ac:chgData name="Doerfler, Lena" userId="aeb0559f-200d-4a58-9e6d-125e1b704bf8" providerId="ADAL" clId="{2F42D7B1-B962-445E-8485-41980C3AF6B0}" dt="2023-03-01T14:18:53.742" v="8902" actId="790"/>
          <ac:spMkLst>
            <pc:docMk/>
            <pc:sldMk cId="3127035269" sldId="5428"/>
            <ac:spMk id="294" creationId="{6868014B-DBB0-43C0-BFAB-9B81346E46BE}"/>
          </ac:spMkLst>
        </pc:spChg>
        <pc:spChg chg="mod">
          <ac:chgData name="Doerfler, Lena" userId="aeb0559f-200d-4a58-9e6d-125e1b704bf8" providerId="ADAL" clId="{2F42D7B1-B962-445E-8485-41980C3AF6B0}" dt="2023-03-01T14:18:53.771" v="8927" actId="790"/>
          <ac:spMkLst>
            <pc:docMk/>
            <pc:sldMk cId="3127035269" sldId="5428"/>
            <ac:spMk id="296" creationId="{1324ED65-A006-4C86-AF12-6946FF3BBA6B}"/>
          </ac:spMkLst>
        </pc:spChg>
        <pc:spChg chg="mod">
          <ac:chgData name="Doerfler, Lena" userId="aeb0559f-200d-4a58-9e6d-125e1b704bf8" providerId="ADAL" clId="{2F42D7B1-B962-445E-8485-41980C3AF6B0}" dt="2023-03-01T14:18:53.772" v="8928" actId="790"/>
          <ac:spMkLst>
            <pc:docMk/>
            <pc:sldMk cId="3127035269" sldId="5428"/>
            <ac:spMk id="297" creationId="{30FEE31D-E1C0-4DDE-965D-E62AF2162652}"/>
          </ac:spMkLst>
        </pc:spChg>
        <pc:spChg chg="mod">
          <ac:chgData name="Doerfler, Lena" userId="aeb0559f-200d-4a58-9e6d-125e1b704bf8" providerId="ADAL" clId="{2F42D7B1-B962-445E-8485-41980C3AF6B0}" dt="2023-03-01T14:18:53.773" v="8929" actId="790"/>
          <ac:spMkLst>
            <pc:docMk/>
            <pc:sldMk cId="3127035269" sldId="5428"/>
            <ac:spMk id="298" creationId="{56130F54-1FF9-4F6D-A527-873D76C13993}"/>
          </ac:spMkLst>
        </pc:spChg>
        <pc:spChg chg="mod">
          <ac:chgData name="Doerfler, Lena" userId="aeb0559f-200d-4a58-9e6d-125e1b704bf8" providerId="ADAL" clId="{2F42D7B1-B962-445E-8485-41980C3AF6B0}" dt="2023-03-01T14:18:53.775" v="8930" actId="790"/>
          <ac:spMkLst>
            <pc:docMk/>
            <pc:sldMk cId="3127035269" sldId="5428"/>
            <ac:spMk id="301" creationId="{E4F37B5F-7863-4CC2-971C-7E650FC50104}"/>
          </ac:spMkLst>
        </pc:spChg>
        <pc:spChg chg="mod">
          <ac:chgData name="Doerfler, Lena" userId="aeb0559f-200d-4a58-9e6d-125e1b704bf8" providerId="ADAL" clId="{2F42D7B1-B962-445E-8485-41980C3AF6B0}" dt="2023-03-01T14:18:53.776" v="8931" actId="790"/>
          <ac:spMkLst>
            <pc:docMk/>
            <pc:sldMk cId="3127035269" sldId="5428"/>
            <ac:spMk id="302" creationId="{37A773FA-B03A-4907-A85E-37F8141A8676}"/>
          </ac:spMkLst>
        </pc:spChg>
        <pc:spChg chg="mod">
          <ac:chgData name="Doerfler, Lena" userId="aeb0559f-200d-4a58-9e6d-125e1b704bf8" providerId="ADAL" clId="{2F42D7B1-B962-445E-8485-41980C3AF6B0}" dt="2023-03-01T14:18:53.744" v="8903" actId="790"/>
          <ac:spMkLst>
            <pc:docMk/>
            <pc:sldMk cId="3127035269" sldId="5428"/>
            <ac:spMk id="303" creationId="{A0F3CA1A-02FF-405C-AC71-13FFAFD082EB}"/>
          </ac:spMkLst>
        </pc:spChg>
        <pc:spChg chg="mod">
          <ac:chgData name="Doerfler, Lena" userId="aeb0559f-200d-4a58-9e6d-125e1b704bf8" providerId="ADAL" clId="{2F42D7B1-B962-445E-8485-41980C3AF6B0}" dt="2023-03-01T14:18:53.741" v="8901" actId="790"/>
          <ac:spMkLst>
            <pc:docMk/>
            <pc:sldMk cId="3127035269" sldId="5428"/>
            <ac:spMk id="304" creationId="{F79DE00C-5E55-4444-94F0-80DEA4F93EC4}"/>
          </ac:spMkLst>
        </pc:spChg>
        <pc:spChg chg="mod">
          <ac:chgData name="Doerfler, Lena" userId="aeb0559f-200d-4a58-9e6d-125e1b704bf8" providerId="ADAL" clId="{2F42D7B1-B962-445E-8485-41980C3AF6B0}" dt="2023-03-01T14:18:53.745" v="8904" actId="790"/>
          <ac:spMkLst>
            <pc:docMk/>
            <pc:sldMk cId="3127035269" sldId="5428"/>
            <ac:spMk id="305" creationId="{CBAB6960-F7FD-4E98-952B-2CA4C630F740}"/>
          </ac:spMkLst>
        </pc:spChg>
        <pc:spChg chg="mod">
          <ac:chgData name="Doerfler, Lena" userId="aeb0559f-200d-4a58-9e6d-125e1b704bf8" providerId="ADAL" clId="{2F42D7B1-B962-445E-8485-41980C3AF6B0}" dt="2023-03-01T14:18:53.746" v="8905" actId="790"/>
          <ac:spMkLst>
            <pc:docMk/>
            <pc:sldMk cId="3127035269" sldId="5428"/>
            <ac:spMk id="306" creationId="{0B7A96EA-7F4B-4495-9BB7-95879A35BDBE}"/>
          </ac:spMkLst>
        </pc:spChg>
        <pc:spChg chg="mod">
          <ac:chgData name="Doerfler, Lena" userId="aeb0559f-200d-4a58-9e6d-125e1b704bf8" providerId="ADAL" clId="{2F42D7B1-B962-445E-8485-41980C3AF6B0}" dt="2023-03-01T14:18:53.747" v="8906" actId="790"/>
          <ac:spMkLst>
            <pc:docMk/>
            <pc:sldMk cId="3127035269" sldId="5428"/>
            <ac:spMk id="307" creationId="{7D5C1018-21D3-4842-8289-5EA468DC179D}"/>
          </ac:spMkLst>
        </pc:spChg>
        <pc:spChg chg="mod">
          <ac:chgData name="Doerfler, Lena" userId="aeb0559f-200d-4a58-9e6d-125e1b704bf8" providerId="ADAL" clId="{2F42D7B1-B962-445E-8485-41980C3AF6B0}" dt="2023-03-01T14:18:53.740" v="8900" actId="790"/>
          <ac:spMkLst>
            <pc:docMk/>
            <pc:sldMk cId="3127035269" sldId="5428"/>
            <ac:spMk id="311" creationId="{8E1A8C92-8DC6-4808-9D08-70EFD1823ACF}"/>
          </ac:spMkLst>
        </pc:spChg>
        <pc:spChg chg="mod">
          <ac:chgData name="Doerfler, Lena" userId="aeb0559f-200d-4a58-9e6d-125e1b704bf8" providerId="ADAL" clId="{2F42D7B1-B962-445E-8485-41980C3AF6B0}" dt="2023-03-01T14:18:53.749" v="8907" actId="790"/>
          <ac:spMkLst>
            <pc:docMk/>
            <pc:sldMk cId="3127035269" sldId="5428"/>
            <ac:spMk id="313" creationId="{A1D17592-7E14-4EB1-BE0D-D744B80B7FDA}"/>
          </ac:spMkLst>
        </pc:spChg>
        <pc:spChg chg="mod">
          <ac:chgData name="Doerfler, Lena" userId="aeb0559f-200d-4a58-9e6d-125e1b704bf8" providerId="ADAL" clId="{2F42D7B1-B962-445E-8485-41980C3AF6B0}" dt="2023-03-01T14:18:53.750" v="8908" actId="790"/>
          <ac:spMkLst>
            <pc:docMk/>
            <pc:sldMk cId="3127035269" sldId="5428"/>
            <ac:spMk id="314" creationId="{55D9BD7A-6E24-4D0D-8F7F-9880267D8C89}"/>
          </ac:spMkLst>
        </pc:spChg>
        <pc:spChg chg="mod">
          <ac:chgData name="Doerfler, Lena" userId="aeb0559f-200d-4a58-9e6d-125e1b704bf8" providerId="ADAL" clId="{2F42D7B1-B962-445E-8485-41980C3AF6B0}" dt="2023-03-01T14:18:53.798" v="8953" actId="790"/>
          <ac:spMkLst>
            <pc:docMk/>
            <pc:sldMk cId="3127035269" sldId="5428"/>
            <ac:spMk id="315" creationId="{1CD860C9-931B-4389-8667-60FA60FF5A69}"/>
          </ac:spMkLst>
        </pc:spChg>
        <pc:spChg chg="mod">
          <ac:chgData name="Doerfler, Lena" userId="aeb0559f-200d-4a58-9e6d-125e1b704bf8" providerId="ADAL" clId="{2F42D7B1-B962-445E-8485-41980C3AF6B0}" dt="2023-03-01T14:18:53.799" v="8954" actId="790"/>
          <ac:spMkLst>
            <pc:docMk/>
            <pc:sldMk cId="3127035269" sldId="5428"/>
            <ac:spMk id="317" creationId="{053D43E3-971B-4635-A16E-129BA8B4E173}"/>
          </ac:spMkLst>
        </pc:spChg>
        <pc:spChg chg="mod">
          <ac:chgData name="Doerfler, Lena" userId="aeb0559f-200d-4a58-9e6d-125e1b704bf8" providerId="ADAL" clId="{2F42D7B1-B962-445E-8485-41980C3AF6B0}" dt="2023-03-01T14:18:53.800" v="8955" actId="790"/>
          <ac:spMkLst>
            <pc:docMk/>
            <pc:sldMk cId="3127035269" sldId="5428"/>
            <ac:spMk id="318" creationId="{8B091EA2-C67C-4F42-A7ED-DB12A6311E66}"/>
          </ac:spMkLst>
        </pc:spChg>
        <pc:spChg chg="mod">
          <ac:chgData name="Doerfler, Lena" userId="aeb0559f-200d-4a58-9e6d-125e1b704bf8" providerId="ADAL" clId="{2F42D7B1-B962-445E-8485-41980C3AF6B0}" dt="2023-03-01T14:18:53.801" v="8956" actId="790"/>
          <ac:spMkLst>
            <pc:docMk/>
            <pc:sldMk cId="3127035269" sldId="5428"/>
            <ac:spMk id="327" creationId="{43180ADD-B854-4002-88B4-D2796547C8C2}"/>
          </ac:spMkLst>
        </pc:spChg>
        <pc:spChg chg="mod">
          <ac:chgData name="Doerfler, Lena" userId="aeb0559f-200d-4a58-9e6d-125e1b704bf8" providerId="ADAL" clId="{2F42D7B1-B962-445E-8485-41980C3AF6B0}" dt="2023-03-01T14:18:53.770" v="8926" actId="790"/>
          <ac:spMkLst>
            <pc:docMk/>
            <pc:sldMk cId="3127035269" sldId="5428"/>
            <ac:spMk id="328" creationId="{FC7736EA-9E53-4F26-84E6-00966BE87434}"/>
          </ac:spMkLst>
        </pc:spChg>
        <pc:spChg chg="mod">
          <ac:chgData name="Doerfler, Lena" userId="aeb0559f-200d-4a58-9e6d-125e1b704bf8" providerId="ADAL" clId="{2F42D7B1-B962-445E-8485-41980C3AF6B0}" dt="2023-03-01T14:18:53.802" v="8957" actId="790"/>
          <ac:spMkLst>
            <pc:docMk/>
            <pc:sldMk cId="3127035269" sldId="5428"/>
            <ac:spMk id="340" creationId="{D75C3FC1-6555-424C-BB12-A5B217393D73}"/>
          </ac:spMkLst>
        </pc:spChg>
        <pc:spChg chg="mod">
          <ac:chgData name="Doerfler, Lena" userId="aeb0559f-200d-4a58-9e6d-125e1b704bf8" providerId="ADAL" clId="{2F42D7B1-B962-445E-8485-41980C3AF6B0}" dt="2023-03-01T14:18:53.803" v="8958" actId="790"/>
          <ac:spMkLst>
            <pc:docMk/>
            <pc:sldMk cId="3127035269" sldId="5428"/>
            <ac:spMk id="341" creationId="{ABE23951-3DDD-4CAC-BB46-A4620EF9B441}"/>
          </ac:spMkLst>
        </pc:spChg>
        <pc:spChg chg="mod">
          <ac:chgData name="Doerfler, Lena" userId="aeb0559f-200d-4a58-9e6d-125e1b704bf8" providerId="ADAL" clId="{2F42D7B1-B962-445E-8485-41980C3AF6B0}" dt="2023-03-01T14:18:53.820" v="8975" actId="790"/>
          <ac:spMkLst>
            <pc:docMk/>
            <pc:sldMk cId="3127035269" sldId="5428"/>
            <ac:spMk id="345" creationId="{E1D3D30C-1E7F-4084-BF27-FAE0301491E9}"/>
          </ac:spMkLst>
        </pc:spChg>
        <pc:spChg chg="mod">
          <ac:chgData name="Doerfler, Lena" userId="aeb0559f-200d-4a58-9e6d-125e1b704bf8" providerId="ADAL" clId="{2F42D7B1-B962-445E-8485-41980C3AF6B0}" dt="2023-03-01T14:18:53.821" v="8976" actId="790"/>
          <ac:spMkLst>
            <pc:docMk/>
            <pc:sldMk cId="3127035269" sldId="5428"/>
            <ac:spMk id="346" creationId="{0FD249A0-CFA7-4F9E-B1A4-52EBE8C14136}"/>
          </ac:spMkLst>
        </pc:spChg>
        <pc:spChg chg="mod">
          <ac:chgData name="Doerfler, Lena" userId="aeb0559f-200d-4a58-9e6d-125e1b704bf8" providerId="ADAL" clId="{2F42D7B1-B962-445E-8485-41980C3AF6B0}" dt="2023-03-01T14:18:53.752" v="8909" actId="790"/>
          <ac:spMkLst>
            <pc:docMk/>
            <pc:sldMk cId="3127035269" sldId="5428"/>
            <ac:spMk id="347" creationId="{0C6A146B-B42F-497C-BD54-FAB29D616942}"/>
          </ac:spMkLst>
        </pc:spChg>
        <pc:spChg chg="mod">
          <ac:chgData name="Doerfler, Lena" userId="aeb0559f-200d-4a58-9e6d-125e1b704bf8" providerId="ADAL" clId="{2F42D7B1-B962-445E-8485-41980C3AF6B0}" dt="2023-03-01T14:18:53.795" v="8950" actId="790"/>
          <ac:spMkLst>
            <pc:docMk/>
            <pc:sldMk cId="3127035269" sldId="5428"/>
            <ac:spMk id="352" creationId="{9D9FBBD0-35A0-4213-9F47-1E8322F3AB6E}"/>
          </ac:spMkLst>
        </pc:spChg>
        <pc:spChg chg="mod">
          <ac:chgData name="Doerfler, Lena" userId="aeb0559f-200d-4a58-9e6d-125e1b704bf8" providerId="ADAL" clId="{2F42D7B1-B962-445E-8485-41980C3AF6B0}" dt="2023-03-01T14:18:53.816" v="8971" actId="790"/>
          <ac:spMkLst>
            <pc:docMk/>
            <pc:sldMk cId="3127035269" sldId="5428"/>
            <ac:spMk id="356" creationId="{ABADF595-7F96-405F-9285-77097810D26F}"/>
          </ac:spMkLst>
        </pc:spChg>
        <pc:spChg chg="mod">
          <ac:chgData name="Doerfler, Lena" userId="aeb0559f-200d-4a58-9e6d-125e1b704bf8" providerId="ADAL" clId="{2F42D7B1-B962-445E-8485-41980C3AF6B0}" dt="2023-03-01T14:18:53.777" v="8932" actId="790"/>
          <ac:spMkLst>
            <pc:docMk/>
            <pc:sldMk cId="3127035269" sldId="5428"/>
            <ac:spMk id="358" creationId="{92F883C8-FD9A-4777-844C-428224C35FD4}"/>
          </ac:spMkLst>
        </pc:spChg>
        <pc:spChg chg="mod">
          <ac:chgData name="Doerfler, Lena" userId="aeb0559f-200d-4a58-9e6d-125e1b704bf8" providerId="ADAL" clId="{2F42D7B1-B962-445E-8485-41980C3AF6B0}" dt="2023-03-01T14:18:53.778" v="8933" actId="790"/>
          <ac:spMkLst>
            <pc:docMk/>
            <pc:sldMk cId="3127035269" sldId="5428"/>
            <ac:spMk id="359" creationId="{4297CCA8-28B5-428F-8A10-4EE013076E5D}"/>
          </ac:spMkLst>
        </pc:spChg>
        <pc:spChg chg="mod">
          <ac:chgData name="Doerfler, Lena" userId="aeb0559f-200d-4a58-9e6d-125e1b704bf8" providerId="ADAL" clId="{2F42D7B1-B962-445E-8485-41980C3AF6B0}" dt="2023-03-01T14:18:53.809" v="8964" actId="790"/>
          <ac:spMkLst>
            <pc:docMk/>
            <pc:sldMk cId="3127035269" sldId="5428"/>
            <ac:spMk id="362" creationId="{9813602F-01AA-4471-8E3C-71FC8C2A9FC0}"/>
          </ac:spMkLst>
        </pc:spChg>
        <pc:spChg chg="mod">
          <ac:chgData name="Doerfler, Lena" userId="aeb0559f-200d-4a58-9e6d-125e1b704bf8" providerId="ADAL" clId="{2F42D7B1-B962-445E-8485-41980C3AF6B0}" dt="2023-03-01T14:18:53.810" v="8965" actId="790"/>
          <ac:spMkLst>
            <pc:docMk/>
            <pc:sldMk cId="3127035269" sldId="5428"/>
            <ac:spMk id="363" creationId="{A8E47F97-A8B9-4981-AAD1-7B9C66DE53F6}"/>
          </ac:spMkLst>
        </pc:spChg>
        <pc:spChg chg="mod">
          <ac:chgData name="Doerfler, Lena" userId="aeb0559f-200d-4a58-9e6d-125e1b704bf8" providerId="ADAL" clId="{2F42D7B1-B962-445E-8485-41980C3AF6B0}" dt="2023-03-01T14:18:53.827" v="8982" actId="790"/>
          <ac:spMkLst>
            <pc:docMk/>
            <pc:sldMk cId="3127035269" sldId="5428"/>
            <ac:spMk id="364" creationId="{1F121789-3A9A-4D9C-8EE2-0304E0D816AA}"/>
          </ac:spMkLst>
        </pc:spChg>
        <pc:spChg chg="mod">
          <ac:chgData name="Doerfler, Lena" userId="aeb0559f-200d-4a58-9e6d-125e1b704bf8" providerId="ADAL" clId="{2F42D7B1-B962-445E-8485-41980C3AF6B0}" dt="2023-03-01T14:18:53.828" v="8983" actId="790"/>
          <ac:spMkLst>
            <pc:docMk/>
            <pc:sldMk cId="3127035269" sldId="5428"/>
            <ac:spMk id="365" creationId="{2E2286BC-467D-4FD3-BF3F-FDC5271E8EB4}"/>
          </ac:spMkLst>
        </pc:spChg>
      </pc:sldChg>
      <pc:sldChg chg="add del">
        <pc:chgData name="Doerfler, Lena" userId="aeb0559f-200d-4a58-9e6d-125e1b704bf8" providerId="ADAL" clId="{2F42D7B1-B962-445E-8485-41980C3AF6B0}" dt="2023-03-01T14:16:32.652" v="8410" actId="2696"/>
        <pc:sldMkLst>
          <pc:docMk/>
          <pc:sldMk cId="118020189" sldId="5429"/>
        </pc:sldMkLst>
      </pc:sldChg>
      <pc:sldChg chg="add del">
        <pc:chgData name="Doerfler, Lena" userId="aeb0559f-200d-4a58-9e6d-125e1b704bf8" providerId="ADAL" clId="{2F42D7B1-B962-445E-8485-41980C3AF6B0}" dt="2023-03-01T14:16:32.596" v="8408" actId="2696"/>
        <pc:sldMkLst>
          <pc:docMk/>
          <pc:sldMk cId="146340557" sldId="5429"/>
        </pc:sldMkLst>
      </pc:sldChg>
      <pc:sldChg chg="add del">
        <pc:chgData name="Doerfler, Lena" userId="aeb0559f-200d-4a58-9e6d-125e1b704bf8" providerId="ADAL" clId="{2F42D7B1-B962-445E-8485-41980C3AF6B0}" dt="2023-03-01T14:16:32.506" v="8404" actId="2696"/>
        <pc:sldMkLst>
          <pc:docMk/>
          <pc:sldMk cId="366272030" sldId="5429"/>
        </pc:sldMkLst>
      </pc:sldChg>
      <pc:sldChg chg="add del">
        <pc:chgData name="Doerfler, Lena" userId="aeb0559f-200d-4a58-9e6d-125e1b704bf8" providerId="ADAL" clId="{2F42D7B1-B962-445E-8485-41980C3AF6B0}" dt="2023-03-01T14:16:31.827" v="8364" actId="2696"/>
        <pc:sldMkLst>
          <pc:docMk/>
          <pc:sldMk cId="443849686" sldId="5429"/>
        </pc:sldMkLst>
      </pc:sldChg>
      <pc:sldChg chg="add del">
        <pc:chgData name="Doerfler, Lena" userId="aeb0559f-200d-4a58-9e6d-125e1b704bf8" providerId="ADAL" clId="{2F42D7B1-B962-445E-8485-41980C3AF6B0}" dt="2023-03-01T14:16:32.085" v="8378" actId="2696"/>
        <pc:sldMkLst>
          <pc:docMk/>
          <pc:sldMk cId="623300004" sldId="5429"/>
        </pc:sldMkLst>
      </pc:sldChg>
      <pc:sldChg chg="add del">
        <pc:chgData name="Doerfler, Lena" userId="aeb0559f-200d-4a58-9e6d-125e1b704bf8" providerId="ADAL" clId="{2F42D7B1-B962-445E-8485-41980C3AF6B0}" dt="2023-03-01T14:16:32.119" v="8380" actId="2696"/>
        <pc:sldMkLst>
          <pc:docMk/>
          <pc:sldMk cId="689278367" sldId="5429"/>
        </pc:sldMkLst>
      </pc:sldChg>
      <pc:sldChg chg="add del">
        <pc:chgData name="Doerfler, Lena" userId="aeb0559f-200d-4a58-9e6d-125e1b704bf8" providerId="ADAL" clId="{2F42D7B1-B962-445E-8485-41980C3AF6B0}" dt="2023-03-01T14:16:32.441" v="8400" actId="2696"/>
        <pc:sldMkLst>
          <pc:docMk/>
          <pc:sldMk cId="846125374" sldId="5429"/>
        </pc:sldMkLst>
      </pc:sldChg>
      <pc:sldChg chg="add del">
        <pc:chgData name="Doerfler, Lena" userId="aeb0559f-200d-4a58-9e6d-125e1b704bf8" providerId="ADAL" clId="{2F42D7B1-B962-445E-8485-41980C3AF6B0}" dt="2023-03-01T14:16:32.411" v="8398" actId="2696"/>
        <pc:sldMkLst>
          <pc:docMk/>
          <pc:sldMk cId="908929831" sldId="5429"/>
        </pc:sldMkLst>
      </pc:sldChg>
      <pc:sldChg chg="add del">
        <pc:chgData name="Doerfler, Lena" userId="aeb0559f-200d-4a58-9e6d-125e1b704bf8" providerId="ADAL" clId="{2F42D7B1-B962-445E-8485-41980C3AF6B0}" dt="2023-03-01T14:16:32.340" v="8394" actId="2696"/>
        <pc:sldMkLst>
          <pc:docMk/>
          <pc:sldMk cId="999105817" sldId="5429"/>
        </pc:sldMkLst>
      </pc:sldChg>
      <pc:sldChg chg="add del">
        <pc:chgData name="Doerfler, Lena" userId="aeb0559f-200d-4a58-9e6d-125e1b704bf8" providerId="ADAL" clId="{2F42D7B1-B962-445E-8485-41980C3AF6B0}" dt="2023-03-01T14:16:32.701" v="8412" actId="2696"/>
        <pc:sldMkLst>
          <pc:docMk/>
          <pc:sldMk cId="1250139603" sldId="5429"/>
        </pc:sldMkLst>
      </pc:sldChg>
      <pc:sldChg chg="add del">
        <pc:chgData name="Doerfler, Lena" userId="aeb0559f-200d-4a58-9e6d-125e1b704bf8" providerId="ADAL" clId="{2F42D7B1-B962-445E-8485-41980C3AF6B0}" dt="2023-03-01T14:16:32.188" v="8384" actId="2696"/>
        <pc:sldMkLst>
          <pc:docMk/>
          <pc:sldMk cId="1497798310" sldId="5429"/>
        </pc:sldMkLst>
      </pc:sldChg>
      <pc:sldChg chg="add del">
        <pc:chgData name="Doerfler, Lena" userId="aeb0559f-200d-4a58-9e6d-125e1b704bf8" providerId="ADAL" clId="{2F42D7B1-B962-445E-8485-41980C3AF6B0}" dt="2023-03-01T14:16:32.473" v="8402" actId="2696"/>
        <pc:sldMkLst>
          <pc:docMk/>
          <pc:sldMk cId="1529714783" sldId="5429"/>
        </pc:sldMkLst>
      </pc:sldChg>
      <pc:sldChg chg="add del">
        <pc:chgData name="Doerfler, Lena" userId="aeb0559f-200d-4a58-9e6d-125e1b704bf8" providerId="ADAL" clId="{2F42D7B1-B962-445E-8485-41980C3AF6B0}" dt="2023-03-01T14:16:32.547" v="8406" actId="2696"/>
        <pc:sldMkLst>
          <pc:docMk/>
          <pc:sldMk cId="1534643043" sldId="5429"/>
        </pc:sldMkLst>
      </pc:sldChg>
      <pc:sldChg chg="add del">
        <pc:chgData name="Doerfler, Lena" userId="aeb0559f-200d-4a58-9e6d-125e1b704bf8" providerId="ADAL" clId="{2F42D7B1-B962-445E-8485-41980C3AF6B0}" dt="2023-03-01T14:16:32.276" v="8390" actId="2696"/>
        <pc:sldMkLst>
          <pc:docMk/>
          <pc:sldMk cId="1580059729" sldId="5429"/>
        </pc:sldMkLst>
      </pc:sldChg>
      <pc:sldChg chg="add del">
        <pc:chgData name="Doerfler, Lena" userId="aeb0559f-200d-4a58-9e6d-125e1b704bf8" providerId="ADAL" clId="{2F42D7B1-B962-445E-8485-41980C3AF6B0}" dt="2023-03-01T14:16:31.904" v="8368" actId="2696"/>
        <pc:sldMkLst>
          <pc:docMk/>
          <pc:sldMk cId="1772431169" sldId="5429"/>
        </pc:sldMkLst>
      </pc:sldChg>
      <pc:sldChg chg="addSp delSp modSp new add mod modClrScheme chgLayout">
        <pc:chgData name="Doerfler, Lena" userId="aeb0559f-200d-4a58-9e6d-125e1b704bf8" providerId="ADAL" clId="{2F42D7B1-B962-445E-8485-41980C3AF6B0}" dt="2023-03-01T14:20:35.906" v="9771" actId="20577"/>
        <pc:sldMkLst>
          <pc:docMk/>
          <pc:sldMk cId="1995068627" sldId="5429"/>
        </pc:sldMkLst>
        <pc:spChg chg="del">
          <ac:chgData name="Doerfler, Lena" userId="aeb0559f-200d-4a58-9e6d-125e1b704bf8" providerId="ADAL" clId="{2F42D7B1-B962-445E-8485-41980C3AF6B0}" dt="2023-03-01T14:20:07.189" v="9661"/>
          <ac:spMkLst>
            <pc:docMk/>
            <pc:sldMk cId="1995068627" sldId="5429"/>
            <ac:spMk id="2" creationId="{C073B13A-D75C-F475-F592-122CC89D1C0E}"/>
          </ac:spMkLst>
        </pc:spChg>
        <pc:spChg chg="mod ord">
          <ac:chgData name="Doerfler, Lena" userId="aeb0559f-200d-4a58-9e6d-125e1b704bf8" providerId="ADAL" clId="{2F42D7B1-B962-445E-8485-41980C3AF6B0}" dt="2023-03-01T14:20:07.189" v="9661"/>
          <ac:spMkLst>
            <pc:docMk/>
            <pc:sldMk cId="1995068627" sldId="5429"/>
            <ac:spMk id="3" creationId="{FBB8235F-094F-7B34-5CB5-B2D038D84AD9}"/>
          </ac:spMkLst>
        </pc:spChg>
        <pc:spChg chg="del mod ord">
          <ac:chgData name="Doerfler, Lena" userId="aeb0559f-200d-4a58-9e6d-125e1b704bf8" providerId="ADAL" clId="{2F42D7B1-B962-445E-8485-41980C3AF6B0}" dt="2023-03-01T14:20:07.189" v="9661"/>
          <ac:spMkLst>
            <pc:docMk/>
            <pc:sldMk cId="1995068627" sldId="5429"/>
            <ac:spMk id="4" creationId="{64D2D4FF-08FE-8401-E379-D7D71D4379F0}"/>
          </ac:spMkLst>
        </pc:spChg>
        <pc:spChg chg="del mod ord">
          <ac:chgData name="Doerfler, Lena" userId="aeb0559f-200d-4a58-9e6d-125e1b704bf8" providerId="ADAL" clId="{2F42D7B1-B962-445E-8485-41980C3AF6B0}" dt="2023-03-01T14:20:07.189" v="9661"/>
          <ac:spMkLst>
            <pc:docMk/>
            <pc:sldMk cId="1995068627" sldId="5429"/>
            <ac:spMk id="5" creationId="{8F8E13C2-FBBB-ABEA-4B28-2BF496E490AD}"/>
          </ac:spMkLst>
        </pc:spChg>
        <pc:spChg chg="del mod ord">
          <ac:chgData name="Doerfler, Lena" userId="aeb0559f-200d-4a58-9e6d-125e1b704bf8" providerId="ADAL" clId="{2F42D7B1-B962-445E-8485-41980C3AF6B0}" dt="2023-03-01T14:20:07.189" v="9661"/>
          <ac:spMkLst>
            <pc:docMk/>
            <pc:sldMk cId="1995068627" sldId="5429"/>
            <ac:spMk id="6" creationId="{D4809561-7096-8B96-3574-8549D4003F4D}"/>
          </ac:spMkLst>
        </pc:spChg>
        <pc:spChg chg="del mod ord">
          <ac:chgData name="Doerfler, Lena" userId="aeb0559f-200d-4a58-9e6d-125e1b704bf8" providerId="ADAL" clId="{2F42D7B1-B962-445E-8485-41980C3AF6B0}" dt="2023-03-01T14:20:07.189" v="9661"/>
          <ac:spMkLst>
            <pc:docMk/>
            <pc:sldMk cId="1995068627" sldId="5429"/>
            <ac:spMk id="7" creationId="{94FD4434-B9B0-CFB5-F533-8A8CF7C650DE}"/>
          </ac:spMkLst>
        </pc:spChg>
        <pc:spChg chg="add mod ord">
          <ac:chgData name="Doerfler, Lena" userId="aeb0559f-200d-4a58-9e6d-125e1b704bf8" providerId="ADAL" clId="{2F42D7B1-B962-445E-8485-41980C3AF6B0}" dt="2023-03-01T14:20:15.512" v="9699" actId="20577"/>
          <ac:spMkLst>
            <pc:docMk/>
            <pc:sldMk cId="1995068627" sldId="5429"/>
            <ac:spMk id="8" creationId="{49668208-55BA-C038-D1BD-9F2DFD7AA624}"/>
          </ac:spMkLst>
        </pc:spChg>
        <pc:spChg chg="add mod ord">
          <ac:chgData name="Doerfler, Lena" userId="aeb0559f-200d-4a58-9e6d-125e1b704bf8" providerId="ADAL" clId="{2F42D7B1-B962-445E-8485-41980C3AF6B0}" dt="2023-03-01T14:20:23.749" v="9726" actId="20577"/>
          <ac:spMkLst>
            <pc:docMk/>
            <pc:sldMk cId="1995068627" sldId="5429"/>
            <ac:spMk id="9" creationId="{11987FCD-CB98-401F-C309-FFFD70F32170}"/>
          </ac:spMkLst>
        </pc:spChg>
        <pc:spChg chg="add mod ord">
          <ac:chgData name="Doerfler, Lena" userId="aeb0559f-200d-4a58-9e6d-125e1b704bf8" providerId="ADAL" clId="{2F42D7B1-B962-445E-8485-41980C3AF6B0}" dt="2023-03-01T14:20:30.211" v="9746" actId="20577"/>
          <ac:spMkLst>
            <pc:docMk/>
            <pc:sldMk cId="1995068627" sldId="5429"/>
            <ac:spMk id="10" creationId="{B3432246-9AB6-A63F-E172-D39DCA0A009A}"/>
          </ac:spMkLst>
        </pc:spChg>
        <pc:spChg chg="add mod ord">
          <ac:chgData name="Doerfler, Lena" userId="aeb0559f-200d-4a58-9e6d-125e1b704bf8" providerId="ADAL" clId="{2F42D7B1-B962-445E-8485-41980C3AF6B0}" dt="2023-03-01T14:20:35.906" v="9771" actId="20577"/>
          <ac:spMkLst>
            <pc:docMk/>
            <pc:sldMk cId="1995068627" sldId="5429"/>
            <ac:spMk id="11" creationId="{6CDA49C2-0456-D63E-E494-2945F87481F6}"/>
          </ac:spMkLst>
        </pc:spChg>
        <pc:graphicFrameChg chg="add mod ord modVis replST">
          <ac:chgData name="Doerfler, Lena" userId="aeb0559f-200d-4a58-9e6d-125e1b704bf8" providerId="ADAL" clId="{2F42D7B1-B962-445E-8485-41980C3AF6B0}" dt="2023-03-01T14:20:07.782" v="9679"/>
          <ac:graphicFrameMkLst>
            <pc:docMk/>
            <pc:sldMk cId="1995068627" sldId="5429"/>
            <ac:graphicFrameMk id="12" creationId="{33FF3B90-5659-9D0C-F32A-32F823636B59}"/>
          </ac:graphicFrameMkLst>
        </pc:graphicFrameChg>
      </pc:sldChg>
      <pc:sldChg chg="add del">
        <pc:chgData name="Doerfler, Lena" userId="aeb0559f-200d-4a58-9e6d-125e1b704bf8" providerId="ADAL" clId="{2F42D7B1-B962-445E-8485-41980C3AF6B0}" dt="2023-03-01T14:16:32.005" v="8374" actId="2696"/>
        <pc:sldMkLst>
          <pc:docMk/>
          <pc:sldMk cId="2338130714" sldId="5429"/>
        </pc:sldMkLst>
      </pc:sldChg>
      <pc:sldChg chg="add del">
        <pc:chgData name="Doerfler, Lena" userId="aeb0559f-200d-4a58-9e6d-125e1b704bf8" providerId="ADAL" clId="{2F42D7B1-B962-445E-8485-41980C3AF6B0}" dt="2023-03-01T14:16:32.154" v="8382" actId="2696"/>
        <pc:sldMkLst>
          <pc:docMk/>
          <pc:sldMk cId="2654754647" sldId="5429"/>
        </pc:sldMkLst>
      </pc:sldChg>
      <pc:sldChg chg="add del">
        <pc:chgData name="Doerfler, Lena" userId="aeb0559f-200d-4a58-9e6d-125e1b704bf8" providerId="ADAL" clId="{2F42D7B1-B962-445E-8485-41980C3AF6B0}" dt="2023-03-01T14:16:32.247" v="8388" actId="2696"/>
        <pc:sldMkLst>
          <pc:docMk/>
          <pc:sldMk cId="2704434353" sldId="5429"/>
        </pc:sldMkLst>
      </pc:sldChg>
      <pc:sldChg chg="add del">
        <pc:chgData name="Doerfler, Lena" userId="aeb0559f-200d-4a58-9e6d-125e1b704bf8" providerId="ADAL" clId="{2F42D7B1-B962-445E-8485-41980C3AF6B0}" dt="2023-03-01T14:16:31.675" v="8354" actId="2696"/>
        <pc:sldMkLst>
          <pc:docMk/>
          <pc:sldMk cId="2834989605" sldId="5429"/>
        </pc:sldMkLst>
      </pc:sldChg>
      <pc:sldChg chg="add del">
        <pc:chgData name="Doerfler, Lena" userId="aeb0559f-200d-4a58-9e6d-125e1b704bf8" providerId="ADAL" clId="{2F42D7B1-B962-445E-8485-41980C3AF6B0}" dt="2023-03-01T14:16:31.645" v="8352" actId="2696"/>
        <pc:sldMkLst>
          <pc:docMk/>
          <pc:sldMk cId="2860074382" sldId="5429"/>
        </pc:sldMkLst>
      </pc:sldChg>
      <pc:sldChg chg="add del">
        <pc:chgData name="Doerfler, Lena" userId="aeb0559f-200d-4a58-9e6d-125e1b704bf8" providerId="ADAL" clId="{2F42D7B1-B962-445E-8485-41980C3AF6B0}" dt="2023-03-01T14:16:31.866" v="8366" actId="2696"/>
        <pc:sldMkLst>
          <pc:docMk/>
          <pc:sldMk cId="2862238247" sldId="5429"/>
        </pc:sldMkLst>
      </pc:sldChg>
      <pc:sldChg chg="add del">
        <pc:chgData name="Doerfler, Lena" userId="aeb0559f-200d-4a58-9e6d-125e1b704bf8" providerId="ADAL" clId="{2F42D7B1-B962-445E-8485-41980C3AF6B0}" dt="2023-03-01T14:16:31.709" v="8356" actId="2696"/>
        <pc:sldMkLst>
          <pc:docMk/>
          <pc:sldMk cId="2984561102" sldId="5429"/>
        </pc:sldMkLst>
      </pc:sldChg>
      <pc:sldChg chg="add del">
        <pc:chgData name="Doerfler, Lena" userId="aeb0559f-200d-4a58-9e6d-125e1b704bf8" providerId="ADAL" clId="{2F42D7B1-B962-445E-8485-41980C3AF6B0}" dt="2023-03-01T14:16:31.735" v="8358" actId="2696"/>
        <pc:sldMkLst>
          <pc:docMk/>
          <pc:sldMk cId="3135499241" sldId="5429"/>
        </pc:sldMkLst>
      </pc:sldChg>
      <pc:sldChg chg="add del">
        <pc:chgData name="Doerfler, Lena" userId="aeb0559f-200d-4a58-9e6d-125e1b704bf8" providerId="ADAL" clId="{2F42D7B1-B962-445E-8485-41980C3AF6B0}" dt="2023-03-01T14:16:31.804" v="8362" actId="2696"/>
        <pc:sldMkLst>
          <pc:docMk/>
          <pc:sldMk cId="3182093244" sldId="5429"/>
        </pc:sldMkLst>
      </pc:sldChg>
      <pc:sldChg chg="add del">
        <pc:chgData name="Doerfler, Lena" userId="aeb0559f-200d-4a58-9e6d-125e1b704bf8" providerId="ADAL" clId="{2F42D7B1-B962-445E-8485-41980C3AF6B0}" dt="2023-03-01T14:16:32.308" v="8392" actId="2696"/>
        <pc:sldMkLst>
          <pc:docMk/>
          <pc:sldMk cId="3238899713" sldId="5429"/>
        </pc:sldMkLst>
      </pc:sldChg>
      <pc:sldChg chg="add del">
        <pc:chgData name="Doerfler, Lena" userId="aeb0559f-200d-4a58-9e6d-125e1b704bf8" providerId="ADAL" clId="{2F42D7B1-B962-445E-8485-41980C3AF6B0}" dt="2023-03-01T14:16:32.737" v="8414" actId="2696"/>
        <pc:sldMkLst>
          <pc:docMk/>
          <pc:sldMk cId="3421259761" sldId="5429"/>
        </pc:sldMkLst>
      </pc:sldChg>
      <pc:sldChg chg="add del">
        <pc:chgData name="Doerfler, Lena" userId="aeb0559f-200d-4a58-9e6d-125e1b704bf8" providerId="ADAL" clId="{2F42D7B1-B962-445E-8485-41980C3AF6B0}" dt="2023-03-01T14:16:32.048" v="8376" actId="2696"/>
        <pc:sldMkLst>
          <pc:docMk/>
          <pc:sldMk cId="3537993926" sldId="5429"/>
        </pc:sldMkLst>
      </pc:sldChg>
      <pc:sldChg chg="add del">
        <pc:chgData name="Doerfler, Lena" userId="aeb0559f-200d-4a58-9e6d-125e1b704bf8" providerId="ADAL" clId="{2F42D7B1-B962-445E-8485-41980C3AF6B0}" dt="2023-03-01T14:16:31.962" v="8372" actId="2696"/>
        <pc:sldMkLst>
          <pc:docMk/>
          <pc:sldMk cId="3612733178" sldId="5429"/>
        </pc:sldMkLst>
      </pc:sldChg>
      <pc:sldChg chg="add del">
        <pc:chgData name="Doerfler, Lena" userId="aeb0559f-200d-4a58-9e6d-125e1b704bf8" providerId="ADAL" clId="{2F42D7B1-B962-445E-8485-41980C3AF6B0}" dt="2023-03-01T14:16:32.222" v="8386" actId="2696"/>
        <pc:sldMkLst>
          <pc:docMk/>
          <pc:sldMk cId="3692662126" sldId="5429"/>
        </pc:sldMkLst>
      </pc:sldChg>
      <pc:sldChg chg="add del">
        <pc:chgData name="Doerfler, Lena" userId="aeb0559f-200d-4a58-9e6d-125e1b704bf8" providerId="ADAL" clId="{2F42D7B1-B962-445E-8485-41980C3AF6B0}" dt="2023-03-01T14:16:31.773" v="8360" actId="2696"/>
        <pc:sldMkLst>
          <pc:docMk/>
          <pc:sldMk cId="3728884521" sldId="5429"/>
        </pc:sldMkLst>
      </pc:sldChg>
      <pc:sldChg chg="add del">
        <pc:chgData name="Doerfler, Lena" userId="aeb0559f-200d-4a58-9e6d-125e1b704bf8" providerId="ADAL" clId="{2F42D7B1-B962-445E-8485-41980C3AF6B0}" dt="2023-03-01T14:16:32.373" v="8396" actId="2696"/>
        <pc:sldMkLst>
          <pc:docMk/>
          <pc:sldMk cId="3863754555" sldId="5429"/>
        </pc:sldMkLst>
      </pc:sldChg>
      <pc:sldChg chg="add del">
        <pc:chgData name="Doerfler, Lena" userId="aeb0559f-200d-4a58-9e6d-125e1b704bf8" providerId="ADAL" clId="{2F42D7B1-B962-445E-8485-41980C3AF6B0}" dt="2023-03-01T14:16:31.929" v="8370" actId="2696"/>
        <pc:sldMkLst>
          <pc:docMk/>
          <pc:sldMk cId="3938456728" sldId="5429"/>
        </pc:sldMkLst>
      </pc:sldChg>
      <pc:sldChg chg="addSp delSp modSp new add del mod modClrScheme delAnim modAnim chgLayout">
        <pc:chgData name="Doerfler, Lena" userId="aeb0559f-200d-4a58-9e6d-125e1b704bf8" providerId="ADAL" clId="{2F42D7B1-B962-445E-8485-41980C3AF6B0}" dt="2023-04-05T13:38:09.405" v="11280" actId="47"/>
        <pc:sldMkLst>
          <pc:docMk/>
          <pc:sldMk cId="1826134634" sldId="5430"/>
        </pc:sldMkLst>
        <pc:spChg chg="del">
          <ac:chgData name="Doerfler, Lena" userId="aeb0559f-200d-4a58-9e6d-125e1b704bf8" providerId="ADAL" clId="{2F42D7B1-B962-445E-8485-41980C3AF6B0}" dt="2023-04-05T13:37:34.939" v="11259"/>
          <ac:spMkLst>
            <pc:docMk/>
            <pc:sldMk cId="1826134634" sldId="5430"/>
            <ac:spMk id="2" creationId="{B5FC2E8F-B624-B5FE-E2C6-56D1E296B763}"/>
          </ac:spMkLst>
        </pc:spChg>
        <pc:spChg chg="mod modVis">
          <ac:chgData name="Doerfler, Lena" userId="aeb0559f-200d-4a58-9e6d-125e1b704bf8" providerId="ADAL" clId="{2F42D7B1-B962-445E-8485-41980C3AF6B0}" dt="2023-04-05T13:37:41.356" v="11260" actId="26606"/>
          <ac:spMkLst>
            <pc:docMk/>
            <pc:sldMk cId="1826134634" sldId="5430"/>
            <ac:spMk id="3" creationId="{66785797-A4A4-3C0C-CE07-5428CBAAE5FB}"/>
          </ac:spMkLst>
        </pc:spChg>
        <pc:spChg chg="mod">
          <ac:chgData name="Doerfler, Lena" userId="aeb0559f-200d-4a58-9e6d-125e1b704bf8" providerId="ADAL" clId="{2F42D7B1-B962-445E-8485-41980C3AF6B0}" dt="2023-04-05T13:37:41.356" v="11260" actId="26606"/>
          <ac:spMkLst>
            <pc:docMk/>
            <pc:sldMk cId="1826134634" sldId="5430"/>
            <ac:spMk id="4" creationId="{120A1B47-195A-FCCC-E471-BFE9EE27A5C5}"/>
          </ac:spMkLst>
        </pc:spChg>
        <pc:spChg chg="mod modVis">
          <ac:chgData name="Doerfler, Lena" userId="aeb0559f-200d-4a58-9e6d-125e1b704bf8" providerId="ADAL" clId="{2F42D7B1-B962-445E-8485-41980C3AF6B0}" dt="2023-04-05T13:37:41.356" v="11260" actId="26606"/>
          <ac:spMkLst>
            <pc:docMk/>
            <pc:sldMk cId="1826134634" sldId="5430"/>
            <ac:spMk id="5" creationId="{49BE0B16-BC38-EEF3-FFB9-0D65757FEB30}"/>
          </ac:spMkLst>
        </pc:spChg>
        <pc:spChg chg="del">
          <ac:chgData name="Doerfler, Lena" userId="aeb0559f-200d-4a58-9e6d-125e1b704bf8" providerId="ADAL" clId="{2F42D7B1-B962-445E-8485-41980C3AF6B0}" dt="2023-04-05T13:37:41.356" v="11260" actId="26606"/>
          <ac:spMkLst>
            <pc:docMk/>
            <pc:sldMk cId="1826134634" sldId="5430"/>
            <ac:spMk id="6" creationId="{FE759057-A558-FCF6-B15C-D8FEEEBC0D30}"/>
          </ac:spMkLst>
        </pc:spChg>
        <pc:spChg chg="del">
          <ac:chgData name="Doerfler, Lena" userId="aeb0559f-200d-4a58-9e6d-125e1b704bf8" providerId="ADAL" clId="{2F42D7B1-B962-445E-8485-41980C3AF6B0}" dt="2023-04-05T13:37:41.356" v="11260" actId="26606"/>
          <ac:spMkLst>
            <pc:docMk/>
            <pc:sldMk cId="1826134634" sldId="5430"/>
            <ac:spMk id="7" creationId="{66393F07-304E-76A0-6178-71B911193393}"/>
          </ac:spMkLst>
        </pc:spChg>
        <pc:spChg chg="add mod">
          <ac:chgData name="Doerfler, Lena" userId="aeb0559f-200d-4a58-9e6d-125e1b704bf8" providerId="ADAL" clId="{2F42D7B1-B962-445E-8485-41980C3AF6B0}" dt="2023-04-05T13:38:07.088" v="11279" actId="478"/>
          <ac:spMkLst>
            <pc:docMk/>
            <pc:sldMk cId="1826134634" sldId="5430"/>
            <ac:spMk id="11" creationId="{8648CD94-EDA9-AA6C-4DD3-76D4A6B84679}"/>
          </ac:spMkLst>
        </pc:spChg>
        <pc:graphicFrameChg chg="add mod ord modVis replST">
          <ac:chgData name="Doerfler, Lena" userId="aeb0559f-200d-4a58-9e6d-125e1b704bf8" providerId="ADAL" clId="{2F42D7B1-B962-445E-8485-41980C3AF6B0}" dt="2023-04-05T13:37:42.173" v="11278"/>
          <ac:graphicFrameMkLst>
            <pc:docMk/>
            <pc:sldMk cId="1826134634" sldId="5430"/>
            <ac:graphicFrameMk id="9" creationId="{87AAD7F4-52E4-2E9E-5BD2-906991BC0A3E}"/>
          </ac:graphicFrameMkLst>
        </pc:graphicFrameChg>
        <pc:picChg chg="add del mod">
          <ac:chgData name="Doerfler, Lena" userId="aeb0559f-200d-4a58-9e6d-125e1b704bf8" providerId="ADAL" clId="{2F42D7B1-B962-445E-8485-41980C3AF6B0}" dt="2023-04-05T13:38:07.088" v="11279" actId="478"/>
          <ac:picMkLst>
            <pc:docMk/>
            <pc:sldMk cId="1826134634" sldId="5430"/>
            <ac:picMk id="8" creationId="{074C0A64-4A15-C812-3C53-FDA2E181AE8C}"/>
          </ac:picMkLst>
        </pc:picChg>
      </pc:sldChg>
      <pc:sldChg chg="addSp delSp modSp new add del mod ord delAnim modAnim">
        <pc:chgData name="Doerfler, Lena" userId="aeb0559f-200d-4a58-9e6d-125e1b704bf8" providerId="ADAL" clId="{2F42D7B1-B962-445E-8485-41980C3AF6B0}" dt="2023-04-20T14:03:26.957" v="15063" actId="47"/>
        <pc:sldMkLst>
          <pc:docMk/>
          <pc:sldMk cId="2983297110" sldId="5430"/>
        </pc:sldMkLst>
        <pc:spChg chg="del">
          <ac:chgData name="Doerfler, Lena" userId="aeb0559f-200d-4a58-9e6d-125e1b704bf8" providerId="ADAL" clId="{2F42D7B1-B962-445E-8485-41980C3AF6B0}" dt="2023-04-05T13:38:14.995" v="11283"/>
          <ac:spMkLst>
            <pc:docMk/>
            <pc:sldMk cId="2983297110" sldId="5430"/>
            <ac:spMk id="2" creationId="{03BEDE27-F56B-71DB-667A-4547F4C3DE06}"/>
          </ac:spMkLst>
        </pc:spChg>
        <pc:spChg chg="mod ord">
          <ac:chgData name="Doerfler, Lena" userId="aeb0559f-200d-4a58-9e6d-125e1b704bf8" providerId="ADAL" clId="{2F42D7B1-B962-445E-8485-41980C3AF6B0}" dt="2023-04-18T07:34:22.463" v="14188"/>
          <ac:spMkLst>
            <pc:docMk/>
            <pc:sldMk cId="2983297110" sldId="5430"/>
            <ac:spMk id="3" creationId="{55148875-EEF0-8AFC-68DB-FF62670CE73C}"/>
          </ac:spMkLst>
        </pc:spChg>
        <pc:spChg chg="mod ord">
          <ac:chgData name="Doerfler, Lena" userId="aeb0559f-200d-4a58-9e6d-125e1b704bf8" providerId="ADAL" clId="{2F42D7B1-B962-445E-8485-41980C3AF6B0}" dt="2023-04-18T07:34:22.463" v="14190"/>
          <ac:spMkLst>
            <pc:docMk/>
            <pc:sldMk cId="2983297110" sldId="5430"/>
            <ac:spMk id="4" creationId="{91AE5CAC-819C-8973-10E0-4E0348A60986}"/>
          </ac:spMkLst>
        </pc:spChg>
        <pc:spChg chg="mod ord">
          <ac:chgData name="Doerfler, Lena" userId="aeb0559f-200d-4a58-9e6d-125e1b704bf8" providerId="ADAL" clId="{2F42D7B1-B962-445E-8485-41980C3AF6B0}" dt="2023-04-18T07:34:22.463" v="14192"/>
          <ac:spMkLst>
            <pc:docMk/>
            <pc:sldMk cId="2983297110" sldId="5430"/>
            <ac:spMk id="5" creationId="{53E9CB21-CCCF-5C38-8ABD-6A4BD9802544}"/>
          </ac:spMkLst>
        </pc:spChg>
        <pc:spChg chg="add del mod">
          <ac:chgData name="Doerfler, Lena" userId="aeb0559f-200d-4a58-9e6d-125e1b704bf8" providerId="ADAL" clId="{2F42D7B1-B962-445E-8485-41980C3AF6B0}" dt="2023-04-18T07:33:32.133" v="14161"/>
          <ac:spMkLst>
            <pc:docMk/>
            <pc:sldMk cId="2983297110" sldId="5430"/>
            <ac:spMk id="6" creationId="{9E11B10C-DDCE-B72D-5167-1E271C5C8D00}"/>
          </ac:spMkLst>
        </pc:spChg>
        <pc:spChg chg="del">
          <ac:chgData name="Doerfler, Lena" userId="aeb0559f-200d-4a58-9e6d-125e1b704bf8" providerId="ADAL" clId="{2F42D7B1-B962-445E-8485-41980C3AF6B0}" dt="2023-04-05T13:39:36.648" v="11309" actId="478"/>
          <ac:spMkLst>
            <pc:docMk/>
            <pc:sldMk cId="2983297110" sldId="5430"/>
            <ac:spMk id="6" creationId="{C5AF052B-0DE0-E4FD-6777-D465F6893DB1}"/>
          </ac:spMkLst>
        </pc:spChg>
        <pc:spChg chg="del">
          <ac:chgData name="Doerfler, Lena" userId="aeb0559f-200d-4a58-9e6d-125e1b704bf8" providerId="ADAL" clId="{2F42D7B1-B962-445E-8485-41980C3AF6B0}" dt="2023-04-05T13:39:35.407" v="11308" actId="478"/>
          <ac:spMkLst>
            <pc:docMk/>
            <pc:sldMk cId="2983297110" sldId="5430"/>
            <ac:spMk id="7" creationId="{5FCD9B89-0423-0E56-68AD-EADD01B97278}"/>
          </ac:spMkLst>
        </pc:spChg>
        <pc:spChg chg="add del mod ord">
          <ac:chgData name="Doerfler, Lena" userId="aeb0559f-200d-4a58-9e6d-125e1b704bf8" providerId="ADAL" clId="{2F42D7B1-B962-445E-8485-41980C3AF6B0}" dt="2023-04-18T07:34:23.664" v="14197" actId="478"/>
          <ac:spMkLst>
            <pc:docMk/>
            <pc:sldMk cId="2983297110" sldId="5430"/>
            <ac:spMk id="10" creationId="{8ADDEE35-4CDC-37A3-F5D6-0BCED55F283B}"/>
          </ac:spMkLst>
        </pc:spChg>
        <pc:graphicFrameChg chg="add del mod">
          <ac:chgData name="Doerfler, Lena" userId="aeb0559f-200d-4a58-9e6d-125e1b704bf8" providerId="ADAL" clId="{2F42D7B1-B962-445E-8485-41980C3AF6B0}" dt="2023-04-12T14:19:18.523" v="12399" actId="478"/>
          <ac:graphicFrameMkLst>
            <pc:docMk/>
            <pc:sldMk cId="2983297110" sldId="5430"/>
            <ac:graphicFrameMk id="2" creationId="{A2D87085-5051-8E91-323F-1EF6A086C679}"/>
          </ac:graphicFrameMkLst>
        </pc:graphicFrameChg>
        <pc:graphicFrameChg chg="add mod ord modVis replST">
          <ac:chgData name="Doerfler, Lena" userId="aeb0559f-200d-4a58-9e6d-125e1b704bf8" providerId="ADAL" clId="{2F42D7B1-B962-445E-8485-41980C3AF6B0}" dt="2023-04-18T07:34:22.470" v="14196"/>
          <ac:graphicFrameMkLst>
            <pc:docMk/>
            <pc:sldMk cId="2983297110" sldId="5430"/>
            <ac:graphicFrameMk id="9" creationId="{418C71B5-10F6-8AE6-81EC-D86EBE2F2A2E}"/>
          </ac:graphicFrameMkLst>
        </pc:graphicFrameChg>
        <pc:picChg chg="add mod ord">
          <ac:chgData name="Doerfler, Lena" userId="aeb0559f-200d-4a58-9e6d-125e1b704bf8" providerId="ADAL" clId="{2F42D7B1-B962-445E-8485-41980C3AF6B0}" dt="2023-04-18T07:34:22.463" v="14184"/>
          <ac:picMkLst>
            <pc:docMk/>
            <pc:sldMk cId="2983297110" sldId="5430"/>
            <ac:picMk id="7" creationId="{9423CBDF-E450-2A6B-A4CA-598B0826EEB4}"/>
          </ac:picMkLst>
        </pc:picChg>
        <pc:picChg chg="add del mod">
          <ac:chgData name="Doerfler, Lena" userId="aeb0559f-200d-4a58-9e6d-125e1b704bf8" providerId="ADAL" clId="{2F42D7B1-B962-445E-8485-41980C3AF6B0}" dt="2023-04-18T07:33:23.276" v="14160" actId="478"/>
          <ac:picMkLst>
            <pc:docMk/>
            <pc:sldMk cId="2983297110" sldId="5430"/>
            <ac:picMk id="8" creationId="{037C1782-0E30-C46A-78B5-5FC5A38C730F}"/>
          </ac:picMkLst>
        </pc:picChg>
      </pc:sldChg>
      <pc:sldChg chg="addSp delSp modSp new add del mod modClrScheme modAnim chgLayout">
        <pc:chgData name="Doerfler, Lena" userId="aeb0559f-200d-4a58-9e6d-125e1b704bf8" providerId="ADAL" clId="{2F42D7B1-B962-445E-8485-41980C3AF6B0}" dt="2023-04-05T13:39:47.715" v="11329" actId="47"/>
        <pc:sldMkLst>
          <pc:docMk/>
          <pc:sldMk cId="1022725456" sldId="5431"/>
        </pc:sldMkLst>
        <pc:spChg chg="del">
          <ac:chgData name="Doerfler, Lena" userId="aeb0559f-200d-4a58-9e6d-125e1b704bf8" providerId="ADAL" clId="{2F42D7B1-B962-445E-8485-41980C3AF6B0}" dt="2023-04-05T13:38:46.255" v="11286"/>
          <ac:spMkLst>
            <pc:docMk/>
            <pc:sldMk cId="1022725456" sldId="5431"/>
            <ac:spMk id="2" creationId="{D1C353F2-DFAF-4DAC-9B86-D3D6AFA2F476}"/>
          </ac:spMkLst>
        </pc:spChg>
        <pc:spChg chg="mod modVis">
          <ac:chgData name="Doerfler, Lena" userId="aeb0559f-200d-4a58-9e6d-125e1b704bf8" providerId="ADAL" clId="{2F42D7B1-B962-445E-8485-41980C3AF6B0}" dt="2023-04-05T13:38:50.005" v="11287" actId="26606"/>
          <ac:spMkLst>
            <pc:docMk/>
            <pc:sldMk cId="1022725456" sldId="5431"/>
            <ac:spMk id="3" creationId="{8B02BC05-913A-63A9-3DD9-DEBF941B066E}"/>
          </ac:spMkLst>
        </pc:spChg>
        <pc:spChg chg="mod">
          <ac:chgData name="Doerfler, Lena" userId="aeb0559f-200d-4a58-9e6d-125e1b704bf8" providerId="ADAL" clId="{2F42D7B1-B962-445E-8485-41980C3AF6B0}" dt="2023-04-05T13:38:50.005" v="11287" actId="26606"/>
          <ac:spMkLst>
            <pc:docMk/>
            <pc:sldMk cId="1022725456" sldId="5431"/>
            <ac:spMk id="4" creationId="{218D3F15-47A9-0BE9-D068-4BEB690F6424}"/>
          </ac:spMkLst>
        </pc:spChg>
        <pc:spChg chg="mod modVis">
          <ac:chgData name="Doerfler, Lena" userId="aeb0559f-200d-4a58-9e6d-125e1b704bf8" providerId="ADAL" clId="{2F42D7B1-B962-445E-8485-41980C3AF6B0}" dt="2023-04-05T13:38:50.005" v="11287" actId="26606"/>
          <ac:spMkLst>
            <pc:docMk/>
            <pc:sldMk cId="1022725456" sldId="5431"/>
            <ac:spMk id="5" creationId="{52DAB0F6-A482-C9D6-893F-FAAA68E29334}"/>
          </ac:spMkLst>
        </pc:spChg>
        <pc:spChg chg="del">
          <ac:chgData name="Doerfler, Lena" userId="aeb0559f-200d-4a58-9e6d-125e1b704bf8" providerId="ADAL" clId="{2F42D7B1-B962-445E-8485-41980C3AF6B0}" dt="2023-04-05T13:38:50.005" v="11287" actId="26606"/>
          <ac:spMkLst>
            <pc:docMk/>
            <pc:sldMk cId="1022725456" sldId="5431"/>
            <ac:spMk id="6" creationId="{115EF7AD-0759-A09B-A2FE-8E9268F02969}"/>
          </ac:spMkLst>
        </pc:spChg>
        <pc:spChg chg="del">
          <ac:chgData name="Doerfler, Lena" userId="aeb0559f-200d-4a58-9e6d-125e1b704bf8" providerId="ADAL" clId="{2F42D7B1-B962-445E-8485-41980C3AF6B0}" dt="2023-04-05T13:38:50.005" v="11287" actId="26606"/>
          <ac:spMkLst>
            <pc:docMk/>
            <pc:sldMk cId="1022725456" sldId="5431"/>
            <ac:spMk id="7" creationId="{B1432C74-E2EF-C83A-9453-F3EF03E3CDE6}"/>
          </ac:spMkLst>
        </pc:spChg>
        <pc:graphicFrameChg chg="add mod ord modVis replST">
          <ac:chgData name="Doerfler, Lena" userId="aeb0559f-200d-4a58-9e6d-125e1b704bf8" providerId="ADAL" clId="{2F42D7B1-B962-445E-8485-41980C3AF6B0}" dt="2023-04-05T13:38:50.569" v="11305"/>
          <ac:graphicFrameMkLst>
            <pc:docMk/>
            <pc:sldMk cId="1022725456" sldId="5431"/>
            <ac:graphicFrameMk id="9" creationId="{AD3D27A0-1003-41BB-BA3F-F4A150B1E0AC}"/>
          </ac:graphicFrameMkLst>
        </pc:graphicFrameChg>
        <pc:picChg chg="add mod">
          <ac:chgData name="Doerfler, Lena" userId="aeb0559f-200d-4a58-9e6d-125e1b704bf8" providerId="ADAL" clId="{2F42D7B1-B962-445E-8485-41980C3AF6B0}" dt="2023-04-05T13:38:50.005" v="11287" actId="26606"/>
          <ac:picMkLst>
            <pc:docMk/>
            <pc:sldMk cId="1022725456" sldId="5431"/>
            <ac:picMk id="8" creationId="{B1E5DD8A-44F0-2377-3A9F-61E74034E31A}"/>
          </ac:picMkLst>
        </pc:picChg>
      </pc:sldChg>
      <pc:sldChg chg="add">
        <pc:chgData name="Doerfler, Lena" userId="aeb0559f-200d-4a58-9e6d-125e1b704bf8" providerId="ADAL" clId="{2F42D7B1-B962-445E-8485-41980C3AF6B0}" dt="2023-04-05T13:40:31.555" v="11331"/>
        <pc:sldMkLst>
          <pc:docMk/>
          <pc:sldMk cId="2169264942" sldId="5431"/>
        </pc:sldMkLst>
      </pc:sldChg>
      <pc:sldChg chg="addSp modSp add mod modAnim modNotesTx">
        <pc:chgData name="Doerfler, Lena" userId="aeb0559f-200d-4a58-9e6d-125e1b704bf8" providerId="ADAL" clId="{2F42D7B1-B962-445E-8485-41980C3AF6B0}" dt="2023-04-14T14:10:18.251" v="14157"/>
        <pc:sldMkLst>
          <pc:docMk/>
          <pc:sldMk cId="3669913978" sldId="5432"/>
        </pc:sldMkLst>
        <pc:spChg chg="add mod">
          <ac:chgData name="Doerfler, Lena" userId="aeb0559f-200d-4a58-9e6d-125e1b704bf8" providerId="ADAL" clId="{2F42D7B1-B962-445E-8485-41980C3AF6B0}" dt="2023-04-11T13:25:18.357" v="12390" actId="20577"/>
          <ac:spMkLst>
            <pc:docMk/>
            <pc:sldMk cId="3669913978" sldId="5432"/>
            <ac:spMk id="4" creationId="{0EEEB45D-CC6D-B939-D363-22521352FB22}"/>
          </ac:spMkLst>
        </pc:spChg>
      </pc:sldChg>
      <pc:sldChg chg="addSp delSp modSp add del mod ord delAnim modAnim">
        <pc:chgData name="Doerfler, Lena" userId="aeb0559f-200d-4a58-9e6d-125e1b704bf8" providerId="ADAL" clId="{2F42D7B1-B962-445E-8485-41980C3AF6B0}" dt="2023-04-20T14:03:30.902" v="15064" actId="47"/>
        <pc:sldMkLst>
          <pc:docMk/>
          <pc:sldMk cId="2155725044" sldId="5433"/>
        </pc:sldMkLst>
        <pc:spChg chg="add del">
          <ac:chgData name="Doerfler, Lena" userId="aeb0559f-200d-4a58-9e6d-125e1b704bf8" providerId="ADAL" clId="{2F42D7B1-B962-445E-8485-41980C3AF6B0}" dt="2023-04-18T07:34:26.047" v="14198" actId="478"/>
          <ac:spMkLst>
            <pc:docMk/>
            <pc:sldMk cId="2155725044" sldId="5433"/>
            <ac:spMk id="2" creationId="{0C072772-2604-9447-4910-FEA8DA355751}"/>
          </ac:spMkLst>
        </pc:spChg>
        <pc:spChg chg="add del mod">
          <ac:chgData name="Doerfler, Lena" userId="aeb0559f-200d-4a58-9e6d-125e1b704bf8" providerId="ADAL" clId="{2F42D7B1-B962-445E-8485-41980C3AF6B0}" dt="2023-04-05T13:41:15.248" v="11341"/>
          <ac:spMkLst>
            <pc:docMk/>
            <pc:sldMk cId="2155725044" sldId="5433"/>
            <ac:spMk id="6" creationId="{63050759-1DC2-0A41-E437-A0C360562173}"/>
          </ac:spMkLst>
        </pc:spChg>
        <pc:spChg chg="add mod">
          <ac:chgData name="Doerfler, Lena" userId="aeb0559f-200d-4a58-9e6d-125e1b704bf8" providerId="ADAL" clId="{2F42D7B1-B962-445E-8485-41980C3AF6B0}" dt="2023-04-20T13:55:24.863" v="14199" actId="478"/>
          <ac:spMkLst>
            <pc:docMk/>
            <pc:sldMk cId="2155725044" sldId="5433"/>
            <ac:spMk id="6" creationId="{DA9357E0-F2C5-BF5A-6504-871073FC069A}"/>
          </ac:spMkLst>
        </pc:spChg>
        <pc:graphicFrameChg chg="mod">
          <ac:chgData name="Doerfler, Lena" userId="aeb0559f-200d-4a58-9e6d-125e1b704bf8" providerId="ADAL" clId="{2F42D7B1-B962-445E-8485-41980C3AF6B0}" dt="2023-04-20T13:56:23.430" v="14588" actId="1076"/>
          <ac:graphicFrameMkLst>
            <pc:docMk/>
            <pc:sldMk cId="2155725044" sldId="5433"/>
            <ac:graphicFrameMk id="9" creationId="{418C71B5-10F6-8AE6-81EC-D86EBE2F2A2E}"/>
          </ac:graphicFrameMkLst>
        </pc:graphicFrameChg>
        <pc:picChg chg="add del mod">
          <ac:chgData name="Doerfler, Lena" userId="aeb0559f-200d-4a58-9e6d-125e1b704bf8" providerId="ADAL" clId="{2F42D7B1-B962-445E-8485-41980C3AF6B0}" dt="2023-04-20T13:55:24.863" v="14199" actId="478"/>
          <ac:picMkLst>
            <pc:docMk/>
            <pc:sldMk cId="2155725044" sldId="5433"/>
            <ac:picMk id="7" creationId="{BFDFF46D-1CD9-0B6E-DDA1-43D057F9A1AC}"/>
          </ac:picMkLst>
        </pc:picChg>
        <pc:picChg chg="del">
          <ac:chgData name="Doerfler, Lena" userId="aeb0559f-200d-4a58-9e6d-125e1b704bf8" providerId="ADAL" clId="{2F42D7B1-B962-445E-8485-41980C3AF6B0}" dt="2023-04-05T13:41:06.539" v="11340" actId="478"/>
          <ac:picMkLst>
            <pc:docMk/>
            <pc:sldMk cId="2155725044" sldId="5433"/>
            <ac:picMk id="8" creationId="{037C1782-0E30-C46A-78B5-5FC5A38C730F}"/>
          </ac:picMkLst>
        </pc:picChg>
      </pc:sldChg>
      <pc:sldChg chg="addSp delSp modSp add del mod">
        <pc:chgData name="Doerfler, Lena" userId="aeb0559f-200d-4a58-9e6d-125e1b704bf8" providerId="ADAL" clId="{2F42D7B1-B962-445E-8485-41980C3AF6B0}" dt="2023-04-13T14:41:18.280" v="12518" actId="47"/>
        <pc:sldMkLst>
          <pc:docMk/>
          <pc:sldMk cId="724740917" sldId="5434"/>
        </pc:sldMkLst>
        <pc:spChg chg="mod">
          <ac:chgData name="Doerfler, Lena" userId="aeb0559f-200d-4a58-9e6d-125e1b704bf8" providerId="ADAL" clId="{2F42D7B1-B962-445E-8485-41980C3AF6B0}" dt="2023-04-06T13:26:15.031" v="11489" actId="14100"/>
          <ac:spMkLst>
            <pc:docMk/>
            <pc:sldMk cId="724740917" sldId="5434"/>
            <ac:spMk id="3" creationId="{4D278B39-C751-0EFB-512B-D5F7C8C6C0DB}"/>
          </ac:spMkLst>
        </pc:spChg>
        <pc:spChg chg="mod">
          <ac:chgData name="Doerfler, Lena" userId="aeb0559f-200d-4a58-9e6d-125e1b704bf8" providerId="ADAL" clId="{2F42D7B1-B962-445E-8485-41980C3AF6B0}" dt="2023-04-06T13:26:18.687" v="11490" actId="14100"/>
          <ac:spMkLst>
            <pc:docMk/>
            <pc:sldMk cId="724740917" sldId="5434"/>
            <ac:spMk id="9" creationId="{E57FFCFC-0791-B386-AA26-AD49A07D5863}"/>
          </ac:spMkLst>
        </pc:spChg>
        <pc:spChg chg="mod">
          <ac:chgData name="Doerfler, Lena" userId="aeb0559f-200d-4a58-9e6d-125e1b704bf8" providerId="ADAL" clId="{2F42D7B1-B962-445E-8485-41980C3AF6B0}" dt="2023-04-06T13:26:52.330" v="11494" actId="14100"/>
          <ac:spMkLst>
            <pc:docMk/>
            <pc:sldMk cId="724740917" sldId="5434"/>
            <ac:spMk id="11" creationId="{43471D71-5616-C205-7B59-B032A69EA06F}"/>
          </ac:spMkLst>
        </pc:spChg>
        <pc:spChg chg="mod">
          <ac:chgData name="Doerfler, Lena" userId="aeb0559f-200d-4a58-9e6d-125e1b704bf8" providerId="ADAL" clId="{2F42D7B1-B962-445E-8485-41980C3AF6B0}" dt="2023-04-06T13:26:45.483" v="11492" actId="14100"/>
          <ac:spMkLst>
            <pc:docMk/>
            <pc:sldMk cId="724740917" sldId="5434"/>
            <ac:spMk id="13" creationId="{4F03C694-8C53-DA9B-C84D-48FDEA162B9D}"/>
          </ac:spMkLst>
        </pc:spChg>
        <pc:spChg chg="add mod">
          <ac:chgData name="Doerfler, Lena" userId="aeb0559f-200d-4a58-9e6d-125e1b704bf8" providerId="ADAL" clId="{2F42D7B1-B962-445E-8485-41980C3AF6B0}" dt="2023-04-11T07:02:01.392" v="12213" actId="1036"/>
          <ac:spMkLst>
            <pc:docMk/>
            <pc:sldMk cId="724740917" sldId="5434"/>
            <ac:spMk id="14" creationId="{4F1DED26-92AE-CA4D-8C09-901F31438B8F}"/>
          </ac:spMkLst>
        </pc:spChg>
        <pc:spChg chg="add mod">
          <ac:chgData name="Doerfler, Lena" userId="aeb0559f-200d-4a58-9e6d-125e1b704bf8" providerId="ADAL" clId="{2F42D7B1-B962-445E-8485-41980C3AF6B0}" dt="2023-04-11T07:02:15.685" v="12219" actId="1036"/>
          <ac:spMkLst>
            <pc:docMk/>
            <pc:sldMk cId="724740917" sldId="5434"/>
            <ac:spMk id="15" creationId="{CDE4A453-F971-9808-1564-30E65B10239F}"/>
          </ac:spMkLst>
        </pc:spChg>
        <pc:spChg chg="add mod">
          <ac:chgData name="Doerfler, Lena" userId="aeb0559f-200d-4a58-9e6d-125e1b704bf8" providerId="ADAL" clId="{2F42D7B1-B962-445E-8485-41980C3AF6B0}" dt="2023-04-11T07:00:59.495" v="12200" actId="14100"/>
          <ac:spMkLst>
            <pc:docMk/>
            <pc:sldMk cId="724740917" sldId="5434"/>
            <ac:spMk id="17" creationId="{3D6F1EAF-37B8-2A02-E125-B47667C02256}"/>
          </ac:spMkLst>
        </pc:spChg>
        <pc:spChg chg="add mod">
          <ac:chgData name="Doerfler, Lena" userId="aeb0559f-200d-4a58-9e6d-125e1b704bf8" providerId="ADAL" clId="{2F42D7B1-B962-445E-8485-41980C3AF6B0}" dt="2023-04-11T07:01:41.452" v="12202" actId="14100"/>
          <ac:spMkLst>
            <pc:docMk/>
            <pc:sldMk cId="724740917" sldId="5434"/>
            <ac:spMk id="18" creationId="{709CD2AC-EDE7-56E2-9A2D-3D62049CA238}"/>
          </ac:spMkLst>
        </pc:spChg>
        <pc:spChg chg="mod">
          <ac:chgData name="Doerfler, Lena" userId="aeb0559f-200d-4a58-9e6d-125e1b704bf8" providerId="ADAL" clId="{2F42D7B1-B962-445E-8485-41980C3AF6B0}" dt="2023-04-06T12:09:50.465" v="11456" actId="14100"/>
          <ac:spMkLst>
            <pc:docMk/>
            <pc:sldMk cId="724740917" sldId="5434"/>
            <ac:spMk id="37" creationId="{383A71AC-BB60-4F27-974A-12F2EF56123B}"/>
          </ac:spMkLst>
        </pc:spChg>
        <pc:spChg chg="mod">
          <ac:chgData name="Doerfler, Lena" userId="aeb0559f-200d-4a58-9e6d-125e1b704bf8" providerId="ADAL" clId="{2F42D7B1-B962-445E-8485-41980C3AF6B0}" dt="2023-04-06T12:09:15.577" v="11451" actId="1076"/>
          <ac:spMkLst>
            <pc:docMk/>
            <pc:sldMk cId="724740917" sldId="5434"/>
            <ac:spMk id="39" creationId="{721B32BD-CF2F-4366-BBC1-8485F794D9CC}"/>
          </ac:spMkLst>
        </pc:spChg>
        <pc:spChg chg="mod">
          <ac:chgData name="Doerfler, Lena" userId="aeb0559f-200d-4a58-9e6d-125e1b704bf8" providerId="ADAL" clId="{2F42D7B1-B962-445E-8485-41980C3AF6B0}" dt="2023-04-06T12:11:11.636" v="11470" actId="14100"/>
          <ac:spMkLst>
            <pc:docMk/>
            <pc:sldMk cId="724740917" sldId="5434"/>
            <ac:spMk id="49" creationId="{DCDE3585-53B9-400F-A6E6-6D3051B8FE3E}"/>
          </ac:spMkLst>
        </pc:spChg>
        <pc:spChg chg="del">
          <ac:chgData name="Doerfler, Lena" userId="aeb0559f-200d-4a58-9e6d-125e1b704bf8" providerId="ADAL" clId="{2F42D7B1-B962-445E-8485-41980C3AF6B0}" dt="2023-04-06T13:25:11.958" v="11477" actId="478"/>
          <ac:spMkLst>
            <pc:docMk/>
            <pc:sldMk cId="724740917" sldId="5434"/>
            <ac:spMk id="52" creationId="{51AF0FC1-664A-4D6B-AB55-4A6B79A28B8D}"/>
          </ac:spMkLst>
        </pc:spChg>
        <pc:spChg chg="mod">
          <ac:chgData name="Doerfler, Lena" userId="aeb0559f-200d-4a58-9e6d-125e1b704bf8" providerId="ADAL" clId="{2F42D7B1-B962-445E-8485-41980C3AF6B0}" dt="2023-04-06T12:11:42.977" v="11474" actId="1076"/>
          <ac:spMkLst>
            <pc:docMk/>
            <pc:sldMk cId="724740917" sldId="5434"/>
            <ac:spMk id="75" creationId="{86E4ABC5-D012-4113-86CA-45BAE3E7E9AA}"/>
          </ac:spMkLst>
        </pc:spChg>
        <pc:spChg chg="mod">
          <ac:chgData name="Doerfler, Lena" userId="aeb0559f-200d-4a58-9e6d-125e1b704bf8" providerId="ADAL" clId="{2F42D7B1-B962-445E-8485-41980C3AF6B0}" dt="2023-04-06T13:25:37.272" v="11481" actId="1076"/>
          <ac:spMkLst>
            <pc:docMk/>
            <pc:sldMk cId="724740917" sldId="5434"/>
            <ac:spMk id="89" creationId="{2D96F1B3-013E-F5C7-67CB-D5AF7D89CBAA}"/>
          </ac:spMkLst>
        </pc:spChg>
        <pc:grpChg chg="mod">
          <ac:chgData name="Doerfler, Lena" userId="aeb0559f-200d-4a58-9e6d-125e1b704bf8" providerId="ADAL" clId="{2F42D7B1-B962-445E-8485-41980C3AF6B0}" dt="2023-04-06T12:09:36.908" v="11452" actId="1076"/>
          <ac:grpSpMkLst>
            <pc:docMk/>
            <pc:sldMk cId="724740917" sldId="5434"/>
            <ac:grpSpMk id="6" creationId="{A4900D07-B183-415B-8C9F-9D663FD11449}"/>
          </ac:grpSpMkLst>
        </pc:grpChg>
        <pc:grpChg chg="mod">
          <ac:chgData name="Doerfler, Lena" userId="aeb0559f-200d-4a58-9e6d-125e1b704bf8" providerId="ADAL" clId="{2F42D7B1-B962-445E-8485-41980C3AF6B0}" dt="2023-04-06T13:25:29.421" v="11479" actId="1076"/>
          <ac:grpSpMkLst>
            <pc:docMk/>
            <pc:sldMk cId="724740917" sldId="5434"/>
            <ac:grpSpMk id="8" creationId="{F5F89834-C6DD-460D-9F12-D66F74B1F6D0}"/>
          </ac:grpSpMkLst>
        </pc:grpChg>
        <pc:grpChg chg="mod">
          <ac:chgData name="Doerfler, Lena" userId="aeb0559f-200d-4a58-9e6d-125e1b704bf8" providerId="ADAL" clId="{2F42D7B1-B962-445E-8485-41980C3AF6B0}" dt="2023-04-06T13:26:06.560" v="11487" actId="1076"/>
          <ac:grpSpMkLst>
            <pc:docMk/>
            <pc:sldMk cId="724740917" sldId="5434"/>
            <ac:grpSpMk id="70" creationId="{319DBD7E-51CE-4C66-A921-8DDF65363565}"/>
          </ac:grpSpMkLst>
        </pc:grpChg>
        <pc:picChg chg="mod">
          <ac:chgData name="Doerfler, Lena" userId="aeb0559f-200d-4a58-9e6d-125e1b704bf8" providerId="ADAL" clId="{2F42D7B1-B962-445E-8485-41980C3AF6B0}" dt="2023-04-06T13:25:41.437" v="11482" actId="1076"/>
          <ac:picMkLst>
            <pc:docMk/>
            <pc:sldMk cId="724740917" sldId="5434"/>
            <ac:picMk id="12" creationId="{46C8A379-CAC4-3C26-5830-9A542F6BBC9E}"/>
          </ac:picMkLst>
        </pc:picChg>
        <pc:picChg chg="mod">
          <ac:chgData name="Doerfler, Lena" userId="aeb0559f-200d-4a58-9e6d-125e1b704bf8" providerId="ADAL" clId="{2F42D7B1-B962-445E-8485-41980C3AF6B0}" dt="2023-04-06T13:27:04.252" v="11495" actId="1076"/>
          <ac:picMkLst>
            <pc:docMk/>
            <pc:sldMk cId="724740917" sldId="5434"/>
            <ac:picMk id="26" creationId="{3D2C0374-021E-B508-6A33-BFBF293D1616}"/>
          </ac:picMkLst>
        </pc:picChg>
        <pc:picChg chg="mod">
          <ac:chgData name="Doerfler, Lena" userId="aeb0559f-200d-4a58-9e6d-125e1b704bf8" providerId="ADAL" clId="{2F42D7B1-B962-445E-8485-41980C3AF6B0}" dt="2023-04-06T12:09:45.429" v="11454" actId="1076"/>
          <ac:picMkLst>
            <pc:docMk/>
            <pc:sldMk cId="724740917" sldId="5434"/>
            <ac:picMk id="35" creationId="{DD60EB35-9BB9-45DD-8BF4-0BF6AA36BA11}"/>
          </ac:picMkLst>
        </pc:picChg>
        <pc:picChg chg="mod">
          <ac:chgData name="Doerfler, Lena" userId="aeb0559f-200d-4a58-9e6d-125e1b704bf8" providerId="ADAL" clId="{2F42D7B1-B962-445E-8485-41980C3AF6B0}" dt="2023-04-06T13:25:49.428" v="11485" actId="1076"/>
          <ac:picMkLst>
            <pc:docMk/>
            <pc:sldMk cId="724740917" sldId="5434"/>
            <ac:picMk id="87" creationId="{2B587286-274F-C712-FF0F-73616F1E2C0E}"/>
          </ac:picMkLst>
        </pc:picChg>
      </pc:sldChg>
      <pc:sldChg chg="addSp modSp add mod modAnim">
        <pc:chgData name="Doerfler, Lena" userId="aeb0559f-200d-4a58-9e6d-125e1b704bf8" providerId="ADAL" clId="{2F42D7B1-B962-445E-8485-41980C3AF6B0}" dt="2023-04-14T13:51:31.553" v="13610" actId="1076"/>
        <pc:sldMkLst>
          <pc:docMk/>
          <pc:sldMk cId="2357510228" sldId="5434"/>
        </pc:sldMkLst>
        <pc:spChg chg="add mod">
          <ac:chgData name="Doerfler, Lena" userId="aeb0559f-200d-4a58-9e6d-125e1b704bf8" providerId="ADAL" clId="{2F42D7B1-B962-445E-8485-41980C3AF6B0}" dt="2023-04-14T13:50:02.191" v="13600" actId="14100"/>
          <ac:spMkLst>
            <pc:docMk/>
            <pc:sldMk cId="2357510228" sldId="5434"/>
            <ac:spMk id="4" creationId="{CAC7E6A1-204D-D37D-E80D-7C847F62AE5D}"/>
          </ac:spMkLst>
        </pc:spChg>
        <pc:spChg chg="add mod">
          <ac:chgData name="Doerfler, Lena" userId="aeb0559f-200d-4a58-9e6d-125e1b704bf8" providerId="ADAL" clId="{2F42D7B1-B962-445E-8485-41980C3AF6B0}" dt="2023-04-14T13:51:31.553" v="13610" actId="1076"/>
          <ac:spMkLst>
            <pc:docMk/>
            <pc:sldMk cId="2357510228" sldId="5434"/>
            <ac:spMk id="6" creationId="{2C35E084-3C57-3259-014D-F21690FDF215}"/>
          </ac:spMkLst>
        </pc:spChg>
        <pc:spChg chg="mod">
          <ac:chgData name="Doerfler, Lena" userId="aeb0559f-200d-4a58-9e6d-125e1b704bf8" providerId="ADAL" clId="{2F42D7B1-B962-445E-8485-41980C3AF6B0}" dt="2023-04-14T13:51:09.718" v="13609" actId="12788"/>
          <ac:spMkLst>
            <pc:docMk/>
            <pc:sldMk cId="2357510228" sldId="5434"/>
            <ac:spMk id="7" creationId="{C7AF5215-7B35-36D4-2665-66D5C9AE52DC}"/>
          </ac:spMkLst>
        </pc:spChg>
        <pc:spChg chg="mod">
          <ac:chgData name="Doerfler, Lena" userId="aeb0559f-200d-4a58-9e6d-125e1b704bf8" providerId="ADAL" clId="{2F42D7B1-B962-445E-8485-41980C3AF6B0}" dt="2023-04-14T13:51:31.553" v="13610" actId="1076"/>
          <ac:spMkLst>
            <pc:docMk/>
            <pc:sldMk cId="2357510228" sldId="5434"/>
            <ac:spMk id="13" creationId="{C311D829-B651-90AA-97AD-90AC8FB29177}"/>
          </ac:spMkLst>
        </pc:spChg>
        <pc:spChg chg="mod">
          <ac:chgData name="Doerfler, Lena" userId="aeb0559f-200d-4a58-9e6d-125e1b704bf8" providerId="ADAL" clId="{2F42D7B1-B962-445E-8485-41980C3AF6B0}" dt="2023-04-14T13:49:40.684" v="13559"/>
          <ac:spMkLst>
            <pc:docMk/>
            <pc:sldMk cId="2357510228" sldId="5434"/>
            <ac:spMk id="25" creationId="{D9AC783E-1C98-7EF8-BE45-93C1579678A7}"/>
          </ac:spMkLst>
        </pc:spChg>
        <pc:spChg chg="mod">
          <ac:chgData name="Doerfler, Lena" userId="aeb0559f-200d-4a58-9e6d-125e1b704bf8" providerId="ADAL" clId="{2F42D7B1-B962-445E-8485-41980C3AF6B0}" dt="2023-04-14T13:49:40.686" v="13565"/>
          <ac:spMkLst>
            <pc:docMk/>
            <pc:sldMk cId="2357510228" sldId="5434"/>
            <ac:spMk id="26" creationId="{B37920D7-717E-62F7-7611-43029A9D9155}"/>
          </ac:spMkLst>
        </pc:spChg>
        <pc:spChg chg="mod ord">
          <ac:chgData name="Doerfler, Lena" userId="aeb0559f-200d-4a58-9e6d-125e1b704bf8" providerId="ADAL" clId="{2F42D7B1-B962-445E-8485-41980C3AF6B0}" dt="2023-04-14T13:51:31.553" v="13610" actId="1076"/>
          <ac:spMkLst>
            <pc:docMk/>
            <pc:sldMk cId="2357510228" sldId="5434"/>
            <ac:spMk id="27" creationId="{F0627BA2-D181-1DB0-A3A7-952DCABAF484}"/>
          </ac:spMkLst>
        </pc:spChg>
        <pc:spChg chg="mod">
          <ac:chgData name="Doerfler, Lena" userId="aeb0559f-200d-4a58-9e6d-125e1b704bf8" providerId="ADAL" clId="{2F42D7B1-B962-445E-8485-41980C3AF6B0}" dt="2023-04-14T13:49:40.688" v="13571"/>
          <ac:spMkLst>
            <pc:docMk/>
            <pc:sldMk cId="2357510228" sldId="5434"/>
            <ac:spMk id="28" creationId="{23F4F0E2-D7ED-A7A3-9020-BFD14ED51C9D}"/>
          </ac:spMkLst>
        </pc:spChg>
        <pc:spChg chg="mod">
          <ac:chgData name="Doerfler, Lena" userId="aeb0559f-200d-4a58-9e6d-125e1b704bf8" providerId="ADAL" clId="{2F42D7B1-B962-445E-8485-41980C3AF6B0}" dt="2023-04-14T13:51:31.553" v="13610" actId="1076"/>
          <ac:spMkLst>
            <pc:docMk/>
            <pc:sldMk cId="2357510228" sldId="5434"/>
            <ac:spMk id="29" creationId="{391B87CD-E456-A118-D4D5-DE620BC5BB69}"/>
          </ac:spMkLst>
        </pc:spChg>
        <pc:spChg chg="mod ord">
          <ac:chgData name="Doerfler, Lena" userId="aeb0559f-200d-4a58-9e6d-125e1b704bf8" providerId="ADAL" clId="{2F42D7B1-B962-445E-8485-41980C3AF6B0}" dt="2023-04-14T13:51:31.553" v="13610" actId="1076"/>
          <ac:spMkLst>
            <pc:docMk/>
            <pc:sldMk cId="2357510228" sldId="5434"/>
            <ac:spMk id="30" creationId="{3C916F8E-42C3-A477-C143-00362086495D}"/>
          </ac:spMkLst>
        </pc:spChg>
        <pc:spChg chg="mod">
          <ac:chgData name="Doerfler, Lena" userId="aeb0559f-200d-4a58-9e6d-125e1b704bf8" providerId="ADAL" clId="{2F42D7B1-B962-445E-8485-41980C3AF6B0}" dt="2023-04-14T13:50:53.162" v="13607" actId="12788"/>
          <ac:spMkLst>
            <pc:docMk/>
            <pc:sldMk cId="2357510228" sldId="5434"/>
            <ac:spMk id="31" creationId="{09A6E064-A35C-BF7E-096A-0C6C7ACFE614}"/>
          </ac:spMkLst>
        </pc:spChg>
        <pc:grpChg chg="add mod">
          <ac:chgData name="Doerfler, Lena" userId="aeb0559f-200d-4a58-9e6d-125e1b704bf8" providerId="ADAL" clId="{2F42D7B1-B962-445E-8485-41980C3AF6B0}" dt="2023-04-14T13:50:53.162" v="13607" actId="12788"/>
          <ac:grpSpMkLst>
            <pc:docMk/>
            <pc:sldMk cId="2357510228" sldId="5434"/>
            <ac:grpSpMk id="16" creationId="{C5CAA7D9-B121-EDBB-0D63-C5F115A19A3E}"/>
          </ac:grpSpMkLst>
        </pc:grpChg>
        <pc:picChg chg="mod">
          <ac:chgData name="Doerfler, Lena" userId="aeb0559f-200d-4a58-9e6d-125e1b704bf8" providerId="ADAL" clId="{2F42D7B1-B962-445E-8485-41980C3AF6B0}" dt="2023-04-14T13:51:31.553" v="13610" actId="1076"/>
          <ac:picMkLst>
            <pc:docMk/>
            <pc:sldMk cId="2357510228" sldId="5434"/>
            <ac:picMk id="3" creationId="{8E4BF4D8-E3A0-18F6-D278-6F5E7782175E}"/>
          </ac:picMkLst>
        </pc:picChg>
        <pc:picChg chg="mod ord">
          <ac:chgData name="Doerfler, Lena" userId="aeb0559f-200d-4a58-9e6d-125e1b704bf8" providerId="ADAL" clId="{2F42D7B1-B962-445E-8485-41980C3AF6B0}" dt="2023-04-14T13:51:31.553" v="13610" actId="1076"/>
          <ac:picMkLst>
            <pc:docMk/>
            <pc:sldMk cId="2357510228" sldId="5434"/>
            <ac:picMk id="10" creationId="{EE6A415A-8208-D80F-3D4B-F397CB170886}"/>
          </ac:picMkLst>
        </pc:picChg>
        <pc:picChg chg="mod">
          <ac:chgData name="Doerfler, Lena" userId="aeb0559f-200d-4a58-9e6d-125e1b704bf8" providerId="ADAL" clId="{2F42D7B1-B962-445E-8485-41980C3AF6B0}" dt="2023-04-13T14:47:16.500" v="12947" actId="12788"/>
          <ac:picMkLst>
            <pc:docMk/>
            <pc:sldMk cId="2357510228" sldId="5434"/>
            <ac:picMk id="12" creationId="{5CD3E042-AD39-A2A6-CB5A-C9F8F15BDB6C}"/>
          </ac:picMkLst>
        </pc:picChg>
        <pc:picChg chg="mod">
          <ac:chgData name="Doerfler, Lena" userId="aeb0559f-200d-4a58-9e6d-125e1b704bf8" providerId="ADAL" clId="{2F42D7B1-B962-445E-8485-41980C3AF6B0}" dt="2023-04-14T13:51:31.553" v="13610" actId="1076"/>
          <ac:picMkLst>
            <pc:docMk/>
            <pc:sldMk cId="2357510228" sldId="5434"/>
            <ac:picMk id="14" creationId="{E8132DB4-A14E-1130-258C-F981A9CD2364}"/>
          </ac:picMkLst>
        </pc:picChg>
        <pc:picChg chg="mod">
          <ac:chgData name="Doerfler, Lena" userId="aeb0559f-200d-4a58-9e6d-125e1b704bf8" providerId="ADAL" clId="{2F42D7B1-B962-445E-8485-41980C3AF6B0}" dt="2023-04-13T14:47:16.500" v="12947" actId="12788"/>
          <ac:picMkLst>
            <pc:docMk/>
            <pc:sldMk cId="2357510228" sldId="5434"/>
            <ac:picMk id="15" creationId="{EBCB9890-DA86-3425-D2CE-BDDE1B647095}"/>
          </ac:picMkLst>
        </pc:picChg>
        <pc:picChg chg="mod">
          <ac:chgData name="Doerfler, Lena" userId="aeb0559f-200d-4a58-9e6d-125e1b704bf8" providerId="ADAL" clId="{2F42D7B1-B962-445E-8485-41980C3AF6B0}" dt="2023-04-13T14:47:32.313" v="12949" actId="1076"/>
          <ac:picMkLst>
            <pc:docMk/>
            <pc:sldMk cId="2357510228" sldId="5434"/>
            <ac:picMk id="21" creationId="{BCC44B32-F903-A940-05A6-1C2058DEB2F6}"/>
          </ac:picMkLst>
        </pc:picChg>
        <pc:picChg chg="mod">
          <ac:chgData name="Doerfler, Lena" userId="aeb0559f-200d-4a58-9e6d-125e1b704bf8" providerId="ADAL" clId="{2F42D7B1-B962-445E-8485-41980C3AF6B0}" dt="2023-04-14T13:51:31.553" v="13610" actId="1076"/>
          <ac:picMkLst>
            <pc:docMk/>
            <pc:sldMk cId="2357510228" sldId="5434"/>
            <ac:picMk id="22" creationId="{19E9F7D5-81D2-C20E-AD0B-D85EF400442A}"/>
          </ac:picMkLst>
        </pc:picChg>
        <pc:picChg chg="mod">
          <ac:chgData name="Doerfler, Lena" userId="aeb0559f-200d-4a58-9e6d-125e1b704bf8" providerId="ADAL" clId="{2F42D7B1-B962-445E-8485-41980C3AF6B0}" dt="2023-04-14T13:50:53.162" v="13607" actId="12788"/>
          <ac:picMkLst>
            <pc:docMk/>
            <pc:sldMk cId="2357510228" sldId="5434"/>
            <ac:picMk id="1026" creationId="{65933F98-9726-C0F8-26FD-6BF8967ACEE0}"/>
          </ac:picMkLst>
        </pc:picChg>
      </pc:sldChg>
      <pc:sldChg chg="addSp delSp modSp add del mod">
        <pc:chgData name="Doerfler, Lena" userId="aeb0559f-200d-4a58-9e6d-125e1b704bf8" providerId="ADAL" clId="{2F42D7B1-B962-445E-8485-41980C3AF6B0}" dt="2023-04-06T13:33:40.672" v="11709" actId="47"/>
        <pc:sldMkLst>
          <pc:docMk/>
          <pc:sldMk cId="1594737367" sldId="5435"/>
        </pc:sldMkLst>
        <pc:spChg chg="mod ord">
          <ac:chgData name="Doerfler, Lena" userId="aeb0559f-200d-4a58-9e6d-125e1b704bf8" providerId="ADAL" clId="{2F42D7B1-B962-445E-8485-41980C3AF6B0}" dt="2023-04-06T13:33:04.981" v="11649"/>
          <ac:spMkLst>
            <pc:docMk/>
            <pc:sldMk cId="1594737367" sldId="5435"/>
            <ac:spMk id="2" creationId="{CB10AC04-8BDA-D80D-C917-01C6D44343C5}"/>
          </ac:spMkLst>
        </pc:spChg>
        <pc:spChg chg="mod ord">
          <ac:chgData name="Doerfler, Lena" userId="aeb0559f-200d-4a58-9e6d-125e1b704bf8" providerId="ADAL" clId="{2F42D7B1-B962-445E-8485-41980C3AF6B0}" dt="2023-04-06T13:33:04.998" v="11697"/>
          <ac:spMkLst>
            <pc:docMk/>
            <pc:sldMk cId="1594737367" sldId="5435"/>
            <ac:spMk id="3" creationId="{4D278B39-C751-0EFB-512B-D5F7C8C6C0DB}"/>
          </ac:spMkLst>
        </pc:spChg>
        <pc:spChg chg="mod ord">
          <ac:chgData name="Doerfler, Lena" userId="aeb0559f-200d-4a58-9e6d-125e1b704bf8" providerId="ADAL" clId="{2F42D7B1-B962-445E-8485-41980C3AF6B0}" dt="2023-04-06T13:33:04.981" v="11647"/>
          <ac:spMkLst>
            <pc:docMk/>
            <pc:sldMk cId="1594737367" sldId="5435"/>
            <ac:spMk id="4" creationId="{66C6B3D3-0945-9BB8-838E-C68F8AC4AA29}"/>
          </ac:spMkLst>
        </pc:spChg>
        <pc:spChg chg="mod ord">
          <ac:chgData name="Doerfler, Lena" userId="aeb0559f-200d-4a58-9e6d-125e1b704bf8" providerId="ADAL" clId="{2F42D7B1-B962-445E-8485-41980C3AF6B0}" dt="2023-04-06T13:33:04.981" v="11651"/>
          <ac:spMkLst>
            <pc:docMk/>
            <pc:sldMk cId="1594737367" sldId="5435"/>
            <ac:spMk id="5" creationId="{FB692C95-8C75-0B7E-6783-DEEECB79D2C2}"/>
          </ac:spMkLst>
        </pc:spChg>
        <pc:spChg chg="mod ord">
          <ac:chgData name="Doerfler, Lena" userId="aeb0559f-200d-4a58-9e6d-125e1b704bf8" providerId="ADAL" clId="{2F42D7B1-B962-445E-8485-41980C3AF6B0}" dt="2023-04-06T13:33:04.981" v="11655"/>
          <ac:spMkLst>
            <pc:docMk/>
            <pc:sldMk cId="1594737367" sldId="5435"/>
            <ac:spMk id="7" creationId="{A6D0B519-DF8C-A822-A53B-8094FDB9643F}"/>
          </ac:spMkLst>
        </pc:spChg>
        <pc:spChg chg="mod ord">
          <ac:chgData name="Doerfler, Lena" userId="aeb0559f-200d-4a58-9e6d-125e1b704bf8" providerId="ADAL" clId="{2F42D7B1-B962-445E-8485-41980C3AF6B0}" dt="2023-04-06T13:33:04.998" v="11699"/>
          <ac:spMkLst>
            <pc:docMk/>
            <pc:sldMk cId="1594737367" sldId="5435"/>
            <ac:spMk id="9" creationId="{E57FFCFC-0791-B386-AA26-AD49A07D5863}"/>
          </ac:spMkLst>
        </pc:spChg>
        <pc:spChg chg="mod ord">
          <ac:chgData name="Doerfler, Lena" userId="aeb0559f-200d-4a58-9e6d-125e1b704bf8" providerId="ADAL" clId="{2F42D7B1-B962-445E-8485-41980C3AF6B0}" dt="2023-04-06T13:33:04.998" v="11701"/>
          <ac:spMkLst>
            <pc:docMk/>
            <pc:sldMk cId="1594737367" sldId="5435"/>
            <ac:spMk id="11" creationId="{43471D71-5616-C205-7B59-B032A69EA06F}"/>
          </ac:spMkLst>
        </pc:spChg>
        <pc:spChg chg="mod ord">
          <ac:chgData name="Doerfler, Lena" userId="aeb0559f-200d-4a58-9e6d-125e1b704bf8" providerId="ADAL" clId="{2F42D7B1-B962-445E-8485-41980C3AF6B0}" dt="2023-04-06T13:33:04.998" v="11703"/>
          <ac:spMkLst>
            <pc:docMk/>
            <pc:sldMk cId="1594737367" sldId="5435"/>
            <ac:spMk id="13" creationId="{4F03C694-8C53-DA9B-C84D-48FDEA162B9D}"/>
          </ac:spMkLst>
        </pc:spChg>
        <pc:spChg chg="mod ord">
          <ac:chgData name="Doerfler, Lena" userId="aeb0559f-200d-4a58-9e6d-125e1b704bf8" providerId="ADAL" clId="{2F42D7B1-B962-445E-8485-41980C3AF6B0}" dt="2023-04-06T13:33:13.057" v="11708" actId="554"/>
          <ac:spMkLst>
            <pc:docMk/>
            <pc:sldMk cId="1594737367" sldId="5435"/>
            <ac:spMk id="14" creationId="{4F1DED26-92AE-CA4D-8C09-901F31438B8F}"/>
          </ac:spMkLst>
        </pc:spChg>
        <pc:spChg chg="mod ord">
          <ac:chgData name="Doerfler, Lena" userId="aeb0559f-200d-4a58-9e6d-125e1b704bf8" providerId="ADAL" clId="{2F42D7B1-B962-445E-8485-41980C3AF6B0}" dt="2023-04-06T13:33:13.057" v="11708" actId="554"/>
          <ac:spMkLst>
            <pc:docMk/>
            <pc:sldMk cId="1594737367" sldId="5435"/>
            <ac:spMk id="15" creationId="{CDE4A453-F971-9808-1564-30E65B10239F}"/>
          </ac:spMkLst>
        </pc:spChg>
        <pc:spChg chg="mod ord">
          <ac:chgData name="Doerfler, Lena" userId="aeb0559f-200d-4a58-9e6d-125e1b704bf8" providerId="ADAL" clId="{2F42D7B1-B962-445E-8485-41980C3AF6B0}" dt="2023-04-06T13:33:04.981" v="11653"/>
          <ac:spMkLst>
            <pc:docMk/>
            <pc:sldMk cId="1594737367" sldId="5435"/>
            <ac:spMk id="16" creationId="{D83076B2-99C8-49A0-8F39-42B899B48F92}"/>
          </ac:spMkLst>
        </pc:spChg>
        <pc:spChg chg="mod ord">
          <ac:chgData name="Doerfler, Lena" userId="aeb0559f-200d-4a58-9e6d-125e1b704bf8" providerId="ADAL" clId="{2F42D7B1-B962-445E-8485-41980C3AF6B0}" dt="2023-04-06T13:33:13.057" v="11708" actId="554"/>
          <ac:spMkLst>
            <pc:docMk/>
            <pc:sldMk cId="1594737367" sldId="5435"/>
            <ac:spMk id="17" creationId="{3D6F1EAF-37B8-2A02-E125-B47667C02256}"/>
          </ac:spMkLst>
        </pc:spChg>
        <pc:spChg chg="mod ord">
          <ac:chgData name="Doerfler, Lena" userId="aeb0559f-200d-4a58-9e6d-125e1b704bf8" providerId="ADAL" clId="{2F42D7B1-B962-445E-8485-41980C3AF6B0}" dt="2023-04-06T13:33:13.057" v="11708" actId="554"/>
          <ac:spMkLst>
            <pc:docMk/>
            <pc:sldMk cId="1594737367" sldId="5435"/>
            <ac:spMk id="18" creationId="{709CD2AC-EDE7-56E2-9A2D-3D62049CA238}"/>
          </ac:spMkLst>
        </pc:spChg>
        <pc:spChg chg="add del mod modVis">
          <ac:chgData name="Doerfler, Lena" userId="aeb0559f-200d-4a58-9e6d-125e1b704bf8" providerId="ADAL" clId="{2F42D7B1-B962-445E-8485-41980C3AF6B0}" dt="2023-04-06T13:31:42.065" v="11626"/>
          <ac:spMkLst>
            <pc:docMk/>
            <pc:sldMk cId="1594737367" sldId="5435"/>
            <ac:spMk id="19" creationId="{4BD07893-8774-76EE-FE08-C806F81E7F60}"/>
          </ac:spMkLst>
        </pc:spChg>
        <pc:spChg chg="mod ord">
          <ac:chgData name="Doerfler, Lena" userId="aeb0559f-200d-4a58-9e6d-125e1b704bf8" providerId="ADAL" clId="{2F42D7B1-B962-445E-8485-41980C3AF6B0}" dt="2023-04-06T13:33:04.991" v="11671"/>
          <ac:spMkLst>
            <pc:docMk/>
            <pc:sldMk cId="1594737367" sldId="5435"/>
            <ac:spMk id="30" creationId="{5B721ECF-3C7B-491B-8B3E-9F3D81B1069A}"/>
          </ac:spMkLst>
        </pc:spChg>
        <pc:spChg chg="mod ord">
          <ac:chgData name="Doerfler, Lena" userId="aeb0559f-200d-4a58-9e6d-125e1b704bf8" providerId="ADAL" clId="{2F42D7B1-B962-445E-8485-41980C3AF6B0}" dt="2023-04-06T13:33:04.981" v="11659"/>
          <ac:spMkLst>
            <pc:docMk/>
            <pc:sldMk cId="1594737367" sldId="5435"/>
            <ac:spMk id="37" creationId="{383A71AC-BB60-4F27-974A-12F2EF56123B}"/>
          </ac:spMkLst>
        </pc:spChg>
        <pc:spChg chg="mod ord">
          <ac:chgData name="Doerfler, Lena" userId="aeb0559f-200d-4a58-9e6d-125e1b704bf8" providerId="ADAL" clId="{2F42D7B1-B962-445E-8485-41980C3AF6B0}" dt="2023-04-06T13:33:04.981" v="11663"/>
          <ac:spMkLst>
            <pc:docMk/>
            <pc:sldMk cId="1594737367" sldId="5435"/>
            <ac:spMk id="48" creationId="{824CA2A5-3CDE-4BFB-BE42-7943336893D4}"/>
          </ac:spMkLst>
        </pc:spChg>
        <pc:spChg chg="mod ord">
          <ac:chgData name="Doerfler, Lena" userId="aeb0559f-200d-4a58-9e6d-125e1b704bf8" providerId="ADAL" clId="{2F42D7B1-B962-445E-8485-41980C3AF6B0}" dt="2023-04-06T13:33:04.991" v="11675"/>
          <ac:spMkLst>
            <pc:docMk/>
            <pc:sldMk cId="1594737367" sldId="5435"/>
            <ac:spMk id="49" creationId="{DCDE3585-53B9-400F-A6E6-6D3051B8FE3E}"/>
          </ac:spMkLst>
        </pc:spChg>
        <pc:spChg chg="mod ord">
          <ac:chgData name="Doerfler, Lena" userId="aeb0559f-200d-4a58-9e6d-125e1b704bf8" providerId="ADAL" clId="{2F42D7B1-B962-445E-8485-41980C3AF6B0}" dt="2023-04-06T13:33:04.991" v="11665"/>
          <ac:spMkLst>
            <pc:docMk/>
            <pc:sldMk cId="1594737367" sldId="5435"/>
            <ac:spMk id="50" creationId="{77D819D9-9ACA-43B9-9E35-63FEDEDBD01D}"/>
          </ac:spMkLst>
        </pc:spChg>
        <pc:spChg chg="mod ord">
          <ac:chgData name="Doerfler, Lena" userId="aeb0559f-200d-4a58-9e6d-125e1b704bf8" providerId="ADAL" clId="{2F42D7B1-B962-445E-8485-41980C3AF6B0}" dt="2023-04-06T13:33:04.991" v="11679"/>
          <ac:spMkLst>
            <pc:docMk/>
            <pc:sldMk cId="1594737367" sldId="5435"/>
            <ac:spMk id="53" creationId="{E84F1484-ADCE-4551-88CB-CA141074ED40}"/>
          </ac:spMkLst>
        </pc:spChg>
        <pc:spChg chg="mod ord">
          <ac:chgData name="Doerfler, Lena" userId="aeb0559f-200d-4a58-9e6d-125e1b704bf8" providerId="ADAL" clId="{2F42D7B1-B962-445E-8485-41980C3AF6B0}" dt="2023-04-06T13:33:04.991" v="11669"/>
          <ac:spMkLst>
            <pc:docMk/>
            <pc:sldMk cId="1594737367" sldId="5435"/>
            <ac:spMk id="75" creationId="{86E4ABC5-D012-4113-86CA-45BAE3E7E9AA}"/>
          </ac:spMkLst>
        </pc:spChg>
        <pc:spChg chg="mod ord">
          <ac:chgData name="Doerfler, Lena" userId="aeb0559f-200d-4a58-9e6d-125e1b704bf8" providerId="ADAL" clId="{2F42D7B1-B962-445E-8485-41980C3AF6B0}" dt="2023-04-06T13:33:04.998" v="11693"/>
          <ac:spMkLst>
            <pc:docMk/>
            <pc:sldMk cId="1594737367" sldId="5435"/>
            <ac:spMk id="89" creationId="{2D96F1B3-013E-F5C7-67CB-D5AF7D89CBAA}"/>
          </ac:spMkLst>
        </pc:spChg>
        <pc:grpChg chg="mod ord">
          <ac:chgData name="Doerfler, Lena" userId="aeb0559f-200d-4a58-9e6d-125e1b704bf8" providerId="ADAL" clId="{2F42D7B1-B962-445E-8485-41980C3AF6B0}" dt="2023-04-06T13:33:04.981" v="11661"/>
          <ac:grpSpMkLst>
            <pc:docMk/>
            <pc:sldMk cId="1594737367" sldId="5435"/>
            <ac:grpSpMk id="6" creationId="{A4900D07-B183-415B-8C9F-9D663FD11449}"/>
          </ac:grpSpMkLst>
        </pc:grpChg>
        <pc:grpChg chg="mod ord">
          <ac:chgData name="Doerfler, Lena" userId="aeb0559f-200d-4a58-9e6d-125e1b704bf8" providerId="ADAL" clId="{2F42D7B1-B962-445E-8485-41980C3AF6B0}" dt="2023-04-06T13:33:04.991" v="11681"/>
          <ac:grpSpMkLst>
            <pc:docMk/>
            <pc:sldMk cId="1594737367" sldId="5435"/>
            <ac:grpSpMk id="8" creationId="{F5F89834-C6DD-460D-9F12-D66F74B1F6D0}"/>
          </ac:grpSpMkLst>
        </pc:grpChg>
        <pc:grpChg chg="mod ord">
          <ac:chgData name="Doerfler, Lena" userId="aeb0559f-200d-4a58-9e6d-125e1b704bf8" providerId="ADAL" clId="{2F42D7B1-B962-445E-8485-41980C3AF6B0}" dt="2023-04-06T13:33:04.991" v="11689"/>
          <ac:grpSpMkLst>
            <pc:docMk/>
            <pc:sldMk cId="1594737367" sldId="5435"/>
            <ac:grpSpMk id="27" creationId="{A151701C-BDB6-31CC-299D-27D87087040E}"/>
          </ac:grpSpMkLst>
        </pc:grpChg>
        <pc:grpChg chg="mod ord">
          <ac:chgData name="Doerfler, Lena" userId="aeb0559f-200d-4a58-9e6d-125e1b704bf8" providerId="ADAL" clId="{2F42D7B1-B962-445E-8485-41980C3AF6B0}" dt="2023-04-06T13:33:04.991" v="11677"/>
          <ac:grpSpMkLst>
            <pc:docMk/>
            <pc:sldMk cId="1594737367" sldId="5435"/>
            <ac:grpSpMk id="70" creationId="{319DBD7E-51CE-4C66-A921-8DDF65363565}"/>
          </ac:grpSpMkLst>
        </pc:grpChg>
        <pc:graphicFrameChg chg="mod">
          <ac:chgData name="Doerfler, Lena" userId="aeb0559f-200d-4a58-9e6d-125e1b704bf8" providerId="ADAL" clId="{2F42D7B1-B962-445E-8485-41980C3AF6B0}" dt="2023-04-06T13:33:05.018" v="11707"/>
          <ac:graphicFrameMkLst>
            <pc:docMk/>
            <pc:sldMk cId="1594737367" sldId="5435"/>
            <ac:graphicFrameMk id="10" creationId="{386C3438-5863-BD08-01B4-0EA9A349AA13}"/>
          </ac:graphicFrameMkLst>
        </pc:graphicFrameChg>
        <pc:picChg chg="mod ord">
          <ac:chgData name="Doerfler, Lena" userId="aeb0559f-200d-4a58-9e6d-125e1b704bf8" providerId="ADAL" clId="{2F42D7B1-B962-445E-8485-41980C3AF6B0}" dt="2023-04-06T13:33:04.998" v="11695"/>
          <ac:picMkLst>
            <pc:docMk/>
            <pc:sldMk cId="1594737367" sldId="5435"/>
            <ac:picMk id="12" creationId="{46C8A379-CAC4-3C26-5830-9A542F6BBC9E}"/>
          </ac:picMkLst>
        </pc:picChg>
        <pc:picChg chg="mod ord">
          <ac:chgData name="Doerfler, Lena" userId="aeb0559f-200d-4a58-9e6d-125e1b704bf8" providerId="ADAL" clId="{2F42D7B1-B962-445E-8485-41980C3AF6B0}" dt="2023-04-06T13:33:04.991" v="11683"/>
          <ac:picMkLst>
            <pc:docMk/>
            <pc:sldMk cId="1594737367" sldId="5435"/>
            <ac:picMk id="21" creationId="{CE5F9446-5776-D157-349A-C5FB7A40701A}"/>
          </ac:picMkLst>
        </pc:picChg>
        <pc:picChg chg="mod ord">
          <ac:chgData name="Doerfler, Lena" userId="aeb0559f-200d-4a58-9e6d-125e1b704bf8" providerId="ADAL" clId="{2F42D7B1-B962-445E-8485-41980C3AF6B0}" dt="2023-04-06T13:33:04.991" v="11685"/>
          <ac:picMkLst>
            <pc:docMk/>
            <pc:sldMk cId="1594737367" sldId="5435"/>
            <ac:picMk id="25" creationId="{43266FE7-07B3-C1BB-894E-5E66127D0B1E}"/>
          </ac:picMkLst>
        </pc:picChg>
        <pc:picChg chg="mod ord">
          <ac:chgData name="Doerfler, Lena" userId="aeb0559f-200d-4a58-9e6d-125e1b704bf8" providerId="ADAL" clId="{2F42D7B1-B962-445E-8485-41980C3AF6B0}" dt="2023-04-06T13:33:04.991" v="11687"/>
          <ac:picMkLst>
            <pc:docMk/>
            <pc:sldMk cId="1594737367" sldId="5435"/>
            <ac:picMk id="26" creationId="{3D2C0374-021E-B508-6A33-BFBF293D1616}"/>
          </ac:picMkLst>
        </pc:picChg>
        <pc:picChg chg="mod ord">
          <ac:chgData name="Doerfler, Lena" userId="aeb0559f-200d-4a58-9e6d-125e1b704bf8" providerId="ADAL" clId="{2F42D7B1-B962-445E-8485-41980C3AF6B0}" dt="2023-04-06T13:33:04.981" v="11657"/>
          <ac:picMkLst>
            <pc:docMk/>
            <pc:sldMk cId="1594737367" sldId="5435"/>
            <ac:picMk id="35" creationId="{DD60EB35-9BB9-45DD-8BF4-0BF6AA36BA11}"/>
          </ac:picMkLst>
        </pc:picChg>
        <pc:picChg chg="mod ord">
          <ac:chgData name="Doerfler, Lena" userId="aeb0559f-200d-4a58-9e6d-125e1b704bf8" providerId="ADAL" clId="{2F42D7B1-B962-445E-8485-41980C3AF6B0}" dt="2023-04-06T13:33:04.991" v="11673"/>
          <ac:picMkLst>
            <pc:docMk/>
            <pc:sldMk cId="1594737367" sldId="5435"/>
            <ac:picMk id="36" creationId="{D62DAAFC-2903-4D94-9DC7-200771D7C98A}"/>
          </ac:picMkLst>
        </pc:picChg>
        <pc:picChg chg="mod ord">
          <ac:chgData name="Doerfler, Lena" userId="aeb0559f-200d-4a58-9e6d-125e1b704bf8" providerId="ADAL" clId="{2F42D7B1-B962-445E-8485-41980C3AF6B0}" dt="2023-04-06T13:33:04.991" v="11691"/>
          <ac:picMkLst>
            <pc:docMk/>
            <pc:sldMk cId="1594737367" sldId="5435"/>
            <ac:picMk id="87" creationId="{2B587286-274F-C712-FF0F-73616F1E2C0E}"/>
          </ac:picMkLst>
        </pc:picChg>
        <pc:cxnChg chg="mod ord">
          <ac:chgData name="Doerfler, Lena" userId="aeb0559f-200d-4a58-9e6d-125e1b704bf8" providerId="ADAL" clId="{2F42D7B1-B962-445E-8485-41980C3AF6B0}" dt="2023-04-06T13:33:04.991" v="11667"/>
          <ac:cxnSpMkLst>
            <pc:docMk/>
            <pc:sldMk cId="1594737367" sldId="5435"/>
            <ac:cxnSpMk id="77" creationId="{4FEAE43D-A276-41C7-AB7D-3554192E7DBB}"/>
          </ac:cxnSpMkLst>
        </pc:cxnChg>
      </pc:sldChg>
      <pc:sldChg chg="modSp add mod modNotesTx">
        <pc:chgData name="Doerfler, Lena" userId="aeb0559f-200d-4a58-9e6d-125e1b704bf8" providerId="ADAL" clId="{2F42D7B1-B962-445E-8485-41980C3AF6B0}" dt="2023-04-14T14:07:50.639" v="14084" actId="20577"/>
        <pc:sldMkLst>
          <pc:docMk/>
          <pc:sldMk cId="3361706382" sldId="5435"/>
        </pc:sldMkLst>
        <pc:spChg chg="mod ord">
          <ac:chgData name="Doerfler, Lena" userId="aeb0559f-200d-4a58-9e6d-125e1b704bf8" providerId="ADAL" clId="{2F42D7B1-B962-445E-8485-41980C3AF6B0}" dt="2023-04-14T14:03:05.152" v="14000"/>
          <ac:spMkLst>
            <pc:docMk/>
            <pc:sldMk cId="3361706382" sldId="5435"/>
            <ac:spMk id="11" creationId="{486E0B3B-D21F-2E1F-176A-090FBF007C9C}"/>
          </ac:spMkLst>
        </pc:spChg>
        <pc:spChg chg="mod ord">
          <ac:chgData name="Doerfler, Lena" userId="aeb0559f-200d-4a58-9e6d-125e1b704bf8" providerId="ADAL" clId="{2F42D7B1-B962-445E-8485-41980C3AF6B0}" dt="2023-04-14T14:02:31.671" v="13966"/>
          <ac:spMkLst>
            <pc:docMk/>
            <pc:sldMk cId="3361706382" sldId="5435"/>
            <ac:spMk id="15" creationId="{F76F020F-DC66-AE83-10D4-1CE2163C1CF4}"/>
          </ac:spMkLst>
        </pc:spChg>
        <pc:spChg chg="mod ord">
          <ac:chgData name="Doerfler, Lena" userId="aeb0559f-200d-4a58-9e6d-125e1b704bf8" providerId="ADAL" clId="{2F42D7B1-B962-445E-8485-41980C3AF6B0}" dt="2023-04-14T14:03:05.154" v="14006"/>
          <ac:spMkLst>
            <pc:docMk/>
            <pc:sldMk cId="3361706382" sldId="5435"/>
            <ac:spMk id="19" creationId="{F55A253C-AF1B-A741-0FBD-742501FCF4B2}"/>
          </ac:spMkLst>
        </pc:spChg>
        <pc:spChg chg="mod ord">
          <ac:chgData name="Doerfler, Lena" userId="aeb0559f-200d-4a58-9e6d-125e1b704bf8" providerId="ADAL" clId="{2F42D7B1-B962-445E-8485-41980C3AF6B0}" dt="2023-04-14T14:02:31.670" v="13960"/>
          <ac:spMkLst>
            <pc:docMk/>
            <pc:sldMk cId="3361706382" sldId="5435"/>
            <ac:spMk id="36" creationId="{B514B9D9-29B9-B73E-9FF6-64CFC6FCE652}"/>
          </ac:spMkLst>
        </pc:spChg>
        <pc:picChg chg="mod ord">
          <ac:chgData name="Doerfler, Lena" userId="aeb0559f-200d-4a58-9e6d-125e1b704bf8" providerId="ADAL" clId="{2F42D7B1-B962-445E-8485-41980C3AF6B0}" dt="2023-04-14T14:03:08.447" v="14018"/>
          <ac:picMkLst>
            <pc:docMk/>
            <pc:sldMk cId="3361706382" sldId="5435"/>
            <ac:picMk id="10" creationId="{CDB70F36-0C3C-2220-3221-846EE650BD9D}"/>
          </ac:picMkLst>
        </pc:picChg>
        <pc:picChg chg="mod ord">
          <ac:chgData name="Doerfler, Lena" userId="aeb0559f-200d-4a58-9e6d-125e1b704bf8" providerId="ADAL" clId="{2F42D7B1-B962-445E-8485-41980C3AF6B0}" dt="2023-04-14T14:02:34.216" v="13988"/>
          <ac:picMkLst>
            <pc:docMk/>
            <pc:sldMk cId="3361706382" sldId="5435"/>
            <ac:picMk id="14" creationId="{C914E376-5876-7C56-A5E5-37C795395B25}"/>
          </ac:picMkLst>
        </pc:picChg>
        <pc:picChg chg="mod ord">
          <ac:chgData name="Doerfler, Lena" userId="aeb0559f-200d-4a58-9e6d-125e1b704bf8" providerId="ADAL" clId="{2F42D7B1-B962-445E-8485-41980C3AF6B0}" dt="2023-04-14T14:03:08.449" v="14024"/>
          <ac:picMkLst>
            <pc:docMk/>
            <pc:sldMk cId="3361706382" sldId="5435"/>
            <ac:picMk id="18" creationId="{7D444BC9-EFD2-964F-9551-C5FD7976C8CC}"/>
          </ac:picMkLst>
        </pc:picChg>
        <pc:picChg chg="mod ord">
          <ac:chgData name="Doerfler, Lena" userId="aeb0559f-200d-4a58-9e6d-125e1b704bf8" providerId="ADAL" clId="{2F42D7B1-B962-445E-8485-41980C3AF6B0}" dt="2023-04-14T14:02:34.215" v="13982"/>
          <ac:picMkLst>
            <pc:docMk/>
            <pc:sldMk cId="3361706382" sldId="5435"/>
            <ac:picMk id="21" creationId="{C394A08B-EE1D-A39F-E0E9-517BEA740B8C}"/>
          </ac:picMkLst>
        </pc:picChg>
      </pc:sldChg>
      <pc:sldChg chg="delSp add del mod">
        <pc:chgData name="Doerfler, Lena" userId="aeb0559f-200d-4a58-9e6d-125e1b704bf8" providerId="ADAL" clId="{2F42D7B1-B962-445E-8485-41980C3AF6B0}" dt="2023-04-13T14:41:19.943" v="12519" actId="47"/>
        <pc:sldMkLst>
          <pc:docMk/>
          <pc:sldMk cId="1245051669" sldId="5436"/>
        </pc:sldMkLst>
        <pc:spChg chg="del">
          <ac:chgData name="Doerfler, Lena" userId="aeb0559f-200d-4a58-9e6d-125e1b704bf8" providerId="ADAL" clId="{2F42D7B1-B962-445E-8485-41980C3AF6B0}" dt="2023-04-06T13:30:47.698" v="11514" actId="478"/>
          <ac:spMkLst>
            <pc:docMk/>
            <pc:sldMk cId="1245051669" sldId="5436"/>
            <ac:spMk id="14" creationId="{4F1DED26-92AE-CA4D-8C09-901F31438B8F}"/>
          </ac:spMkLst>
        </pc:spChg>
        <pc:spChg chg="del">
          <ac:chgData name="Doerfler, Lena" userId="aeb0559f-200d-4a58-9e6d-125e1b704bf8" providerId="ADAL" clId="{2F42D7B1-B962-445E-8485-41980C3AF6B0}" dt="2023-04-06T13:30:48.765" v="11515" actId="478"/>
          <ac:spMkLst>
            <pc:docMk/>
            <pc:sldMk cId="1245051669" sldId="5436"/>
            <ac:spMk id="15" creationId="{CDE4A453-F971-9808-1564-30E65B10239F}"/>
          </ac:spMkLst>
        </pc:spChg>
        <pc:spChg chg="del">
          <ac:chgData name="Doerfler, Lena" userId="aeb0559f-200d-4a58-9e6d-125e1b704bf8" providerId="ADAL" clId="{2F42D7B1-B962-445E-8485-41980C3AF6B0}" dt="2023-04-06T13:30:50.141" v="11516" actId="478"/>
          <ac:spMkLst>
            <pc:docMk/>
            <pc:sldMk cId="1245051669" sldId="5436"/>
            <ac:spMk id="17" creationId="{3D6F1EAF-37B8-2A02-E125-B47667C02256}"/>
          </ac:spMkLst>
        </pc:spChg>
        <pc:spChg chg="del">
          <ac:chgData name="Doerfler, Lena" userId="aeb0559f-200d-4a58-9e6d-125e1b704bf8" providerId="ADAL" clId="{2F42D7B1-B962-445E-8485-41980C3AF6B0}" dt="2023-04-06T13:30:50.765" v="11517" actId="478"/>
          <ac:spMkLst>
            <pc:docMk/>
            <pc:sldMk cId="1245051669" sldId="5436"/>
            <ac:spMk id="18" creationId="{709CD2AC-EDE7-56E2-9A2D-3D62049CA238}"/>
          </ac:spMkLst>
        </pc:spChg>
      </pc:sldChg>
      <pc:sldChg chg="add del">
        <pc:chgData name="Doerfler, Lena" userId="aeb0559f-200d-4a58-9e6d-125e1b704bf8" providerId="ADAL" clId="{2F42D7B1-B962-445E-8485-41980C3AF6B0}" dt="2023-04-06T13:30:44.321" v="11512"/>
        <pc:sldMkLst>
          <pc:docMk/>
          <pc:sldMk cId="2872003703" sldId="5436"/>
        </pc:sldMkLst>
      </pc:sldChg>
      <pc:sldChg chg="addSp delSp modSp new add del mod">
        <pc:chgData name="Doerfler, Lena" userId="aeb0559f-200d-4a58-9e6d-125e1b704bf8" providerId="ADAL" clId="{2F42D7B1-B962-445E-8485-41980C3AF6B0}" dt="2023-04-20T14:01:23.787" v="15000" actId="47"/>
        <pc:sldMkLst>
          <pc:docMk/>
          <pc:sldMk cId="3421775964" sldId="5436"/>
        </pc:sldMkLst>
        <pc:spChg chg="del">
          <ac:chgData name="Doerfler, Lena" userId="aeb0559f-200d-4a58-9e6d-125e1b704bf8" providerId="ADAL" clId="{2F42D7B1-B962-445E-8485-41980C3AF6B0}" dt="2023-04-20T13:57:23.273" v="14591"/>
          <ac:spMkLst>
            <pc:docMk/>
            <pc:sldMk cId="3421775964" sldId="5436"/>
            <ac:spMk id="2" creationId="{A90F1531-2E8A-A037-8635-659DC13D49FB}"/>
          </ac:spMkLst>
        </pc:spChg>
        <pc:spChg chg="mod ord">
          <ac:chgData name="Doerfler, Lena" userId="aeb0559f-200d-4a58-9e6d-125e1b704bf8" providerId="ADAL" clId="{2F42D7B1-B962-445E-8485-41980C3AF6B0}" dt="2023-04-20T13:59:02.163" v="14835"/>
          <ac:spMkLst>
            <pc:docMk/>
            <pc:sldMk cId="3421775964" sldId="5436"/>
            <ac:spMk id="3" creationId="{58F005E1-9B4B-CE62-5EF0-D6A710590596}"/>
          </ac:spMkLst>
        </pc:spChg>
        <pc:spChg chg="mod ord">
          <ac:chgData name="Doerfler, Lena" userId="aeb0559f-200d-4a58-9e6d-125e1b704bf8" providerId="ADAL" clId="{2F42D7B1-B962-445E-8485-41980C3AF6B0}" dt="2023-04-20T13:59:02.165" v="14837"/>
          <ac:spMkLst>
            <pc:docMk/>
            <pc:sldMk cId="3421775964" sldId="5436"/>
            <ac:spMk id="4" creationId="{503A4D03-9CD1-C714-DA1F-AD1F0562248D}"/>
          </ac:spMkLst>
        </pc:spChg>
        <pc:spChg chg="mod ord">
          <ac:chgData name="Doerfler, Lena" userId="aeb0559f-200d-4a58-9e6d-125e1b704bf8" providerId="ADAL" clId="{2F42D7B1-B962-445E-8485-41980C3AF6B0}" dt="2023-04-20T13:59:02.166" v="14839"/>
          <ac:spMkLst>
            <pc:docMk/>
            <pc:sldMk cId="3421775964" sldId="5436"/>
            <ac:spMk id="5" creationId="{7DD40942-27B1-48CC-A98B-66EB1E158A2C}"/>
          </ac:spMkLst>
        </pc:spChg>
        <pc:spChg chg="add del mod modVis">
          <ac:chgData name="Doerfler, Lena" userId="aeb0559f-200d-4a58-9e6d-125e1b704bf8" providerId="ADAL" clId="{2F42D7B1-B962-445E-8485-41980C3AF6B0}" dt="2023-04-20T13:56:22.252" v="14542" actId="478"/>
          <ac:spMkLst>
            <pc:docMk/>
            <pc:sldMk cId="3421775964" sldId="5436"/>
            <ac:spMk id="7" creationId="{BD16D9C8-4AE1-9642-4D55-09B2B11C05CA}"/>
          </ac:spMkLst>
        </pc:spChg>
        <pc:spChg chg="add del mod modVis">
          <ac:chgData name="Doerfler, Lena" userId="aeb0559f-200d-4a58-9e6d-125e1b704bf8" providerId="ADAL" clId="{2F42D7B1-B962-445E-8485-41980C3AF6B0}" dt="2023-04-20T13:56:23.427" v="14586" actId="478"/>
          <ac:spMkLst>
            <pc:docMk/>
            <pc:sldMk cId="3421775964" sldId="5436"/>
            <ac:spMk id="8" creationId="{1E614F9F-2E42-8EBB-9076-D5EEF8884C9C}"/>
          </ac:spMkLst>
        </pc:spChg>
        <pc:spChg chg="add del mod">
          <ac:chgData name="Doerfler, Lena" userId="aeb0559f-200d-4a58-9e6d-125e1b704bf8" providerId="ADAL" clId="{2F42D7B1-B962-445E-8485-41980C3AF6B0}" dt="2023-04-20T13:58:18.039" v="14598"/>
          <ac:spMkLst>
            <pc:docMk/>
            <pc:sldMk cId="3421775964" sldId="5436"/>
            <ac:spMk id="12" creationId="{EF5B46D0-8608-289F-881C-AAC841B07D05}"/>
          </ac:spMkLst>
        </pc:spChg>
        <pc:spChg chg="add del mod modVis">
          <ac:chgData name="Doerfler, Lena" userId="aeb0559f-200d-4a58-9e6d-125e1b704bf8" providerId="ADAL" clId="{2F42D7B1-B962-445E-8485-41980C3AF6B0}" dt="2023-04-20T13:58:57.114" v="14648"/>
          <ac:spMkLst>
            <pc:docMk/>
            <pc:sldMk cId="3421775964" sldId="5436"/>
            <ac:spMk id="15" creationId="{D802FB17-CE19-85B9-91D1-51357C499DD5}"/>
          </ac:spMkLst>
        </pc:spChg>
        <pc:spChg chg="add">
          <ac:chgData name="Doerfler, Lena" userId="aeb0559f-200d-4a58-9e6d-125e1b704bf8" providerId="ADAL" clId="{2F42D7B1-B962-445E-8485-41980C3AF6B0}" dt="2023-04-20T13:59:45.382" v="14854" actId="11529"/>
          <ac:spMkLst>
            <pc:docMk/>
            <pc:sldMk cId="3421775964" sldId="5436"/>
            <ac:spMk id="16" creationId="{B9C23270-97FA-21F2-DDC9-1F5704BA32F6}"/>
          </ac:spMkLst>
        </pc:spChg>
        <pc:graphicFrameChg chg="add mod ord modVis replST">
          <ac:chgData name="Doerfler, Lena" userId="aeb0559f-200d-4a58-9e6d-125e1b704bf8" providerId="ADAL" clId="{2F42D7B1-B962-445E-8485-41980C3AF6B0}" dt="2023-04-20T13:59:02.173" v="14845"/>
          <ac:graphicFrameMkLst>
            <pc:docMk/>
            <pc:sldMk cId="3421775964" sldId="5436"/>
            <ac:graphicFrameMk id="6" creationId="{CC61E63C-B4A2-DC12-3052-DDFA956416CE}"/>
          </ac:graphicFrameMkLst>
        </pc:graphicFrameChg>
        <pc:picChg chg="add del mod">
          <ac:chgData name="Doerfler, Lena" userId="aeb0559f-200d-4a58-9e6d-125e1b704bf8" providerId="ADAL" clId="{2F42D7B1-B962-445E-8485-41980C3AF6B0}" dt="2023-04-20T13:57:30.889" v="14592" actId="478"/>
          <ac:picMkLst>
            <pc:docMk/>
            <pc:sldMk cId="3421775964" sldId="5436"/>
            <ac:picMk id="10" creationId="{191A65D4-0155-BC5B-8BAA-B25A497C62E2}"/>
          </ac:picMkLst>
        </pc:picChg>
        <pc:picChg chg="add del mod">
          <ac:chgData name="Doerfler, Lena" userId="aeb0559f-200d-4a58-9e6d-125e1b704bf8" providerId="ADAL" clId="{2F42D7B1-B962-445E-8485-41980C3AF6B0}" dt="2023-04-20T13:58:11.874" v="14597"/>
          <ac:picMkLst>
            <pc:docMk/>
            <pc:sldMk cId="3421775964" sldId="5436"/>
            <ac:picMk id="13" creationId="{4C36636B-6C3D-259F-14AD-14CF6849BD48}"/>
          </ac:picMkLst>
        </pc:picChg>
        <pc:picChg chg="add mod ord">
          <ac:chgData name="Doerfler, Lena" userId="aeb0559f-200d-4a58-9e6d-125e1b704bf8" providerId="ADAL" clId="{2F42D7B1-B962-445E-8485-41980C3AF6B0}" dt="2023-04-20T13:59:02.167" v="14841"/>
          <ac:picMkLst>
            <pc:docMk/>
            <pc:sldMk cId="3421775964" sldId="5436"/>
            <ac:picMk id="14" creationId="{080CA946-756F-E559-7490-BA83447F9D34}"/>
          </ac:picMkLst>
        </pc:picChg>
      </pc:sldChg>
      <pc:sldChg chg="addSp delSp modSp add del mod">
        <pc:chgData name="Doerfler, Lena" userId="aeb0559f-200d-4a58-9e6d-125e1b704bf8" providerId="ADAL" clId="{2F42D7B1-B962-445E-8485-41980C3AF6B0}" dt="2023-04-20T13:56:12.672" v="14411"/>
        <pc:sldMkLst>
          <pc:docMk/>
          <pc:sldMk cId="1952811762" sldId="5437"/>
        </pc:sldMkLst>
        <pc:spChg chg="mod">
          <ac:chgData name="Doerfler, Lena" userId="aeb0559f-200d-4a58-9e6d-125e1b704bf8" providerId="ADAL" clId="{2F42D7B1-B962-445E-8485-41980C3AF6B0}" dt="2023-04-20T13:56:11.567" v="14407" actId="20577"/>
          <ac:spMkLst>
            <pc:docMk/>
            <pc:sldMk cId="1952811762" sldId="5437"/>
            <ac:spMk id="4" creationId="{503A4D03-9CD1-C714-DA1F-AD1F0562248D}"/>
          </ac:spMkLst>
        </pc:spChg>
        <pc:spChg chg="add del mod modVis">
          <ac:chgData name="Doerfler, Lena" userId="aeb0559f-200d-4a58-9e6d-125e1b704bf8" providerId="ADAL" clId="{2F42D7B1-B962-445E-8485-41980C3AF6B0}" dt="2023-04-20T13:56:11.565" v="14405" actId="962"/>
          <ac:spMkLst>
            <pc:docMk/>
            <pc:sldMk cId="1952811762" sldId="5437"/>
            <ac:spMk id="7" creationId="{74A130EF-A8A6-F261-1CB9-B9BF430E88BC}"/>
          </ac:spMkLst>
        </pc:spChg>
        <pc:graphicFrameChg chg="mod">
          <ac:chgData name="Doerfler, Lena" userId="aeb0559f-200d-4a58-9e6d-125e1b704bf8" providerId="ADAL" clId="{2F42D7B1-B962-445E-8485-41980C3AF6B0}" dt="2023-04-20T13:56:12.672" v="14411"/>
          <ac:graphicFrameMkLst>
            <pc:docMk/>
            <pc:sldMk cId="1952811762" sldId="5437"/>
            <ac:graphicFrameMk id="6" creationId="{CC61E63C-B4A2-DC12-3052-DDFA956416CE}"/>
          </ac:graphicFrameMkLst>
        </pc:graphicFrameChg>
      </pc:sldChg>
      <pc:sldChg chg="addSp delSp modSp add mod">
        <pc:chgData name="Doerfler, Lena" userId="aeb0559f-200d-4a58-9e6d-125e1b704bf8" providerId="ADAL" clId="{2F42D7B1-B962-445E-8485-41980C3AF6B0}" dt="2023-04-20T14:01:19.492" v="14999" actId="1076"/>
        <pc:sldMkLst>
          <pc:docMk/>
          <pc:sldMk cId="4151744272" sldId="5437"/>
        </pc:sldMkLst>
        <pc:spChg chg="add del mod">
          <ac:chgData name="Doerfler, Lena" userId="aeb0559f-200d-4a58-9e6d-125e1b704bf8" providerId="ADAL" clId="{2F42D7B1-B962-445E-8485-41980C3AF6B0}" dt="2023-04-20T13:59:17.592" v="14848" actId="478"/>
          <ac:spMkLst>
            <pc:docMk/>
            <pc:sldMk cId="4151744272" sldId="5437"/>
            <ac:spMk id="7" creationId="{D86DD9F4-726C-B150-3B8B-C8F9D196D485}"/>
          </ac:spMkLst>
        </pc:spChg>
        <pc:spChg chg="add del mod">
          <ac:chgData name="Doerfler, Lena" userId="aeb0559f-200d-4a58-9e6d-125e1b704bf8" providerId="ADAL" clId="{2F42D7B1-B962-445E-8485-41980C3AF6B0}" dt="2023-04-20T14:00:36.992" v="14986" actId="478"/>
          <ac:spMkLst>
            <pc:docMk/>
            <pc:sldMk cId="4151744272" sldId="5437"/>
            <ac:spMk id="10" creationId="{4FC9BCAF-A16E-41DD-3E5C-2FA8583C51A2}"/>
          </ac:spMkLst>
        </pc:spChg>
        <pc:picChg chg="add del mod">
          <ac:chgData name="Doerfler, Lena" userId="aeb0559f-200d-4a58-9e6d-125e1b704bf8" providerId="ADAL" clId="{2F42D7B1-B962-445E-8485-41980C3AF6B0}" dt="2023-04-20T13:59:23.787" v="14850"/>
          <ac:picMkLst>
            <pc:docMk/>
            <pc:sldMk cId="4151744272" sldId="5437"/>
            <ac:picMk id="8" creationId="{8C1EA19D-9372-A3D8-F1D3-276323F6C953}"/>
          </ac:picMkLst>
        </pc:picChg>
        <pc:picChg chg="add del mod">
          <ac:chgData name="Doerfler, Lena" userId="aeb0559f-200d-4a58-9e6d-125e1b704bf8" providerId="ADAL" clId="{2F42D7B1-B962-445E-8485-41980C3AF6B0}" dt="2023-04-20T13:59:55.536" v="14857" actId="478"/>
          <ac:picMkLst>
            <pc:docMk/>
            <pc:sldMk cId="4151744272" sldId="5437"/>
            <ac:picMk id="9" creationId="{08893480-CD58-23B8-D9E0-4B4BB79E3939}"/>
          </ac:picMkLst>
        </pc:picChg>
        <pc:picChg chg="add del mod">
          <ac:chgData name="Doerfler, Lena" userId="aeb0559f-200d-4a58-9e6d-125e1b704bf8" providerId="ADAL" clId="{2F42D7B1-B962-445E-8485-41980C3AF6B0}" dt="2023-04-20T14:00:36.992" v="14986" actId="478"/>
          <ac:picMkLst>
            <pc:docMk/>
            <pc:sldMk cId="4151744272" sldId="5437"/>
            <ac:picMk id="11" creationId="{03C388DE-06EA-370C-BBDA-DCCFDE07ABF2}"/>
          </ac:picMkLst>
        </pc:picChg>
        <pc:picChg chg="add mod modCrop">
          <ac:chgData name="Doerfler, Lena" userId="aeb0559f-200d-4a58-9e6d-125e1b704bf8" providerId="ADAL" clId="{2F42D7B1-B962-445E-8485-41980C3AF6B0}" dt="2023-04-20T14:01:19.492" v="14999" actId="1076"/>
          <ac:picMkLst>
            <pc:docMk/>
            <pc:sldMk cId="4151744272" sldId="5437"/>
            <ac:picMk id="12" creationId="{A627FF17-7C37-1100-B04A-E1ED22718642}"/>
          </ac:picMkLst>
        </pc:picChg>
        <pc:picChg chg="del">
          <ac:chgData name="Doerfler, Lena" userId="aeb0559f-200d-4a58-9e6d-125e1b704bf8" providerId="ADAL" clId="{2F42D7B1-B962-445E-8485-41980C3AF6B0}" dt="2023-04-20T13:59:16.575" v="14847" actId="478"/>
          <ac:picMkLst>
            <pc:docMk/>
            <pc:sldMk cId="4151744272" sldId="5437"/>
            <ac:picMk id="14" creationId="{080CA946-756F-E559-7490-BA83447F9D34}"/>
          </ac:picMkLst>
        </pc:picChg>
      </pc:sldChg>
      <pc:sldChg chg="addSp delSp modSp add mod">
        <pc:chgData name="Doerfler, Lena" userId="aeb0559f-200d-4a58-9e6d-125e1b704bf8" providerId="ADAL" clId="{2F42D7B1-B962-445E-8485-41980C3AF6B0}" dt="2023-04-20T14:02:31.092" v="15062" actId="732"/>
        <pc:sldMkLst>
          <pc:docMk/>
          <pc:sldMk cId="1666495135" sldId="5438"/>
        </pc:sldMkLst>
        <pc:spChg chg="add del mod modVis">
          <ac:chgData name="Doerfler, Lena" userId="aeb0559f-200d-4a58-9e6d-125e1b704bf8" providerId="ADAL" clId="{2F42D7B1-B962-445E-8485-41980C3AF6B0}" dt="2023-04-20T14:01:30.776" v="15044"/>
          <ac:spMkLst>
            <pc:docMk/>
            <pc:sldMk cId="1666495135" sldId="5438"/>
            <ac:spMk id="2" creationId="{D3843D59-11DF-445C-A15E-60A372AD51B2}"/>
          </ac:spMkLst>
        </pc:spChg>
        <pc:spChg chg="mod">
          <ac:chgData name="Doerfler, Lena" userId="aeb0559f-200d-4a58-9e6d-125e1b704bf8" providerId="ADAL" clId="{2F42D7B1-B962-445E-8485-41980C3AF6B0}" dt="2023-04-20T14:01:30.705" v="15003" actId="948"/>
          <ac:spMkLst>
            <pc:docMk/>
            <pc:sldMk cId="1666495135" sldId="5438"/>
            <ac:spMk id="4" creationId="{503A4D03-9CD1-C714-DA1F-AD1F0562248D}"/>
          </ac:spMkLst>
        </pc:spChg>
        <pc:graphicFrameChg chg="mod">
          <ac:chgData name="Doerfler, Lena" userId="aeb0559f-200d-4a58-9e6d-125e1b704bf8" providerId="ADAL" clId="{2F42D7B1-B962-445E-8485-41980C3AF6B0}" dt="2023-04-20T14:01:30.779" v="15046"/>
          <ac:graphicFrameMkLst>
            <pc:docMk/>
            <pc:sldMk cId="1666495135" sldId="5438"/>
            <ac:graphicFrameMk id="6" creationId="{CC61E63C-B4A2-DC12-3052-DDFA956416CE}"/>
          </ac:graphicFrameMkLst>
        </pc:graphicFrameChg>
        <pc:picChg chg="add del mod">
          <ac:chgData name="Doerfler, Lena" userId="aeb0559f-200d-4a58-9e6d-125e1b704bf8" providerId="ADAL" clId="{2F42D7B1-B962-445E-8485-41980C3AF6B0}" dt="2023-04-20T14:01:39.095" v="15051"/>
          <ac:picMkLst>
            <pc:docMk/>
            <pc:sldMk cId="1666495135" sldId="5438"/>
            <ac:picMk id="7" creationId="{18F7FE04-4492-4D68-A5AC-5D98443A1F6F}"/>
          </ac:picMkLst>
        </pc:picChg>
        <pc:picChg chg="add mod modCrop">
          <ac:chgData name="Doerfler, Lena" userId="aeb0559f-200d-4a58-9e6d-125e1b704bf8" providerId="ADAL" clId="{2F42D7B1-B962-445E-8485-41980C3AF6B0}" dt="2023-04-20T14:02:31.092" v="15062" actId="732"/>
          <ac:picMkLst>
            <pc:docMk/>
            <pc:sldMk cId="1666495135" sldId="5438"/>
            <ac:picMk id="8" creationId="{F73D0122-9E0C-935D-1F73-F8B366810B46}"/>
          </ac:picMkLst>
        </pc:picChg>
        <pc:picChg chg="add del">
          <ac:chgData name="Doerfler, Lena" userId="aeb0559f-200d-4a58-9e6d-125e1b704bf8" providerId="ADAL" clId="{2F42D7B1-B962-445E-8485-41980C3AF6B0}" dt="2023-04-20T14:02:21.059" v="15059" actId="478"/>
          <ac:picMkLst>
            <pc:docMk/>
            <pc:sldMk cId="1666495135" sldId="5438"/>
            <ac:picMk id="12" creationId="{A627FF17-7C37-1100-B04A-E1ED22718642}"/>
          </ac:picMkLst>
        </pc:picChg>
      </pc:sldChg>
      <pc:sldMasterChg chg="modSp del mod delSldLayout modSldLayout">
        <pc:chgData name="Doerfler, Lena" userId="aeb0559f-200d-4a58-9e6d-125e1b704bf8" providerId="ADAL" clId="{2F42D7B1-B962-445E-8485-41980C3AF6B0}" dt="2023-03-01T14:15:16.431" v="6923" actId="2696"/>
        <pc:sldMasterMkLst>
          <pc:docMk/>
          <pc:sldMasterMk cId="3797982245" sldId="2147483648"/>
        </pc:sldMasterMkLst>
        <pc:spChg chg="mod">
          <ac:chgData name="Doerfler, Lena" userId="aeb0559f-200d-4a58-9e6d-125e1b704bf8" providerId="ADAL" clId="{2F42D7B1-B962-445E-8485-41980C3AF6B0}" dt="2023-02-27T15:37:40.059" v="2645" actId="790"/>
          <ac:spMkLst>
            <pc:docMk/>
            <pc:sldMasterMk cId="3797982245" sldId="2147483648"/>
            <ac:spMk id="2" creationId="{7EE5D475-DF19-4144-995E-F7C3970B86A2}"/>
          </ac:spMkLst>
        </pc:spChg>
        <pc:spChg chg="mod">
          <ac:chgData name="Doerfler, Lena" userId="aeb0559f-200d-4a58-9e6d-125e1b704bf8" providerId="ADAL" clId="{2F42D7B1-B962-445E-8485-41980C3AF6B0}" dt="2023-02-27T15:37:40.067" v="2646" actId="790"/>
          <ac:spMkLst>
            <pc:docMk/>
            <pc:sldMasterMk cId="3797982245" sldId="2147483648"/>
            <ac:spMk id="3" creationId="{F3A34782-E3A2-CF42-9904-29EE5398AD9A}"/>
          </ac:spMkLst>
        </pc:spChg>
        <pc:spChg chg="mod">
          <ac:chgData name="Doerfler, Lena" userId="aeb0559f-200d-4a58-9e6d-125e1b704bf8" providerId="ADAL" clId="{2F42D7B1-B962-445E-8485-41980C3AF6B0}" dt="2023-02-27T15:37:40.083" v="2648" actId="790"/>
          <ac:spMkLst>
            <pc:docMk/>
            <pc:sldMasterMk cId="3797982245" sldId="2147483648"/>
            <ac:spMk id="4" creationId="{3983328E-748D-3F4E-9827-CEDBAE65A398}"/>
          </ac:spMkLst>
        </pc:spChg>
        <pc:spChg chg="mod">
          <ac:chgData name="Doerfler, Lena" userId="aeb0559f-200d-4a58-9e6d-125e1b704bf8" providerId="ADAL" clId="{2F42D7B1-B962-445E-8485-41980C3AF6B0}" dt="2023-02-27T15:37:40.067" v="2647" actId="790"/>
          <ac:spMkLst>
            <pc:docMk/>
            <pc:sldMasterMk cId="3797982245" sldId="2147483648"/>
            <ac:spMk id="6" creationId="{8F3E9BB6-5D8A-8147-AD61-F2C10BA13284}"/>
          </ac:spMkLst>
        </pc:spChg>
        <pc:spChg chg="mod">
          <ac:chgData name="Doerfler, Lena" userId="aeb0559f-200d-4a58-9e6d-125e1b704bf8" providerId="ADAL" clId="{2F42D7B1-B962-445E-8485-41980C3AF6B0}" dt="2023-02-27T15:37:40.093" v="2651" actId="790"/>
          <ac:spMkLst>
            <pc:docMk/>
            <pc:sldMasterMk cId="3797982245" sldId="2147483648"/>
            <ac:spMk id="8" creationId="{3B045111-8DB6-4E89-8ACE-F9267DF8EF55}"/>
          </ac:spMkLst>
        </pc:spChg>
        <pc:spChg chg="mod">
          <ac:chgData name="Doerfler, Lena" userId="aeb0559f-200d-4a58-9e6d-125e1b704bf8" providerId="ADAL" clId="{2F42D7B1-B962-445E-8485-41980C3AF6B0}" dt="2023-02-27T15:37:41.026" v="2946" actId="790"/>
          <ac:spMkLst>
            <pc:docMk/>
            <pc:sldMasterMk cId="3797982245" sldId="2147483648"/>
            <ac:spMk id="9" creationId="{9DB09A8C-0A47-46B9-974A-D9A1F4E4F2AC}"/>
          </ac:spMkLst>
        </pc:spChg>
        <pc:spChg chg="mod modVis">
          <ac:chgData name="Doerfler, Lena" userId="aeb0559f-200d-4a58-9e6d-125e1b704bf8" providerId="ADAL" clId="{2F42D7B1-B962-445E-8485-41980C3AF6B0}" dt="2023-02-27T15:37:40.093" v="2650" actId="790"/>
          <ac:spMkLst>
            <pc:docMk/>
            <pc:sldMasterMk cId="3797982245" sldId="2147483648"/>
            <ac:spMk id="12" creationId="{0E366F92-F00E-4DBF-99FD-D0E58A0EFF4D}"/>
          </ac:spMkLst>
        </pc:spChg>
        <pc:sldLayoutChg chg="modSp del mod">
          <pc:chgData name="Doerfler, Lena" userId="aeb0559f-200d-4a58-9e6d-125e1b704bf8" providerId="ADAL" clId="{2F42D7B1-B962-445E-8485-41980C3AF6B0}" dt="2023-03-01T14:15:16.385" v="6905" actId="2696"/>
          <pc:sldLayoutMkLst>
            <pc:docMk/>
            <pc:sldMasterMk cId="3797982245" sldId="2147483648"/>
            <pc:sldLayoutMk cId="30381662" sldId="2147483654"/>
          </pc:sldLayoutMkLst>
          <pc:spChg chg="mod">
            <ac:chgData name="Doerfler, Lena" userId="aeb0559f-200d-4a58-9e6d-125e1b704bf8" providerId="ADAL" clId="{2F42D7B1-B962-445E-8485-41980C3AF6B0}" dt="2023-02-27T15:37:41.042" v="2949" actId="790"/>
            <ac:spMkLst>
              <pc:docMk/>
              <pc:sldMasterMk cId="3797982245" sldId="2147483648"/>
              <pc:sldLayoutMk cId="30381662" sldId="2147483654"/>
              <ac:spMk id="5" creationId="{8F2A36B2-CB27-4C43-B5D5-CB711C557260}"/>
            </ac:spMkLst>
          </pc:spChg>
        </pc:sldLayoutChg>
        <pc:sldLayoutChg chg="del">
          <pc:chgData name="Doerfler, Lena" userId="aeb0559f-200d-4a58-9e6d-125e1b704bf8" providerId="ADAL" clId="{2F42D7B1-B962-445E-8485-41980C3AF6B0}" dt="2023-03-01T14:15:16.366" v="6902" actId="2696"/>
          <pc:sldLayoutMkLst>
            <pc:docMk/>
            <pc:sldMasterMk cId="3797982245" sldId="2147483648"/>
            <pc:sldLayoutMk cId="2487911683" sldId="2147483663"/>
          </pc:sldLayoutMkLst>
        </pc:sldLayoutChg>
        <pc:sldLayoutChg chg="modSp del mod">
          <pc:chgData name="Doerfler, Lena" userId="aeb0559f-200d-4a58-9e6d-125e1b704bf8" providerId="ADAL" clId="{2F42D7B1-B962-445E-8485-41980C3AF6B0}" dt="2023-03-01T14:15:16.421" v="6922" actId="2696"/>
          <pc:sldLayoutMkLst>
            <pc:docMk/>
            <pc:sldMasterMk cId="3797982245" sldId="2147483648"/>
            <pc:sldLayoutMk cId="637432465" sldId="2147483666"/>
          </pc:sldLayoutMkLst>
          <pc:spChg chg="mod modVis">
            <ac:chgData name="Doerfler, Lena" userId="aeb0559f-200d-4a58-9e6d-125e1b704bf8" providerId="ADAL" clId="{2F42D7B1-B962-445E-8485-41980C3AF6B0}" dt="2023-02-27T15:37:40.010" v="2627"/>
            <ac:spMkLst>
              <pc:docMk/>
              <pc:sldMasterMk cId="3797982245" sldId="2147483648"/>
              <pc:sldLayoutMk cId="637432465" sldId="2147483666"/>
              <ac:spMk id="5" creationId="{D53D78F5-6983-4445-80A2-08426FAA21E3}"/>
            </ac:spMkLst>
          </pc:spChg>
          <pc:spChg chg="mod modVis">
            <ac:chgData name="Doerfler, Lena" userId="aeb0559f-200d-4a58-9e6d-125e1b704bf8" providerId="ADAL" clId="{2F42D7B1-B962-445E-8485-41980C3AF6B0}" dt="2023-02-27T15:37:40.013" v="2630"/>
            <ac:spMkLst>
              <pc:docMk/>
              <pc:sldMasterMk cId="3797982245" sldId="2147483648"/>
              <pc:sldLayoutMk cId="637432465" sldId="2147483666"/>
              <ac:spMk id="6" creationId="{348C4E9D-9EEE-43BD-8FB9-0AF649E9C92C}"/>
            </ac:spMkLst>
          </pc:spChg>
          <pc:spChg chg="mod modVis">
            <ac:chgData name="Doerfler, Lena" userId="aeb0559f-200d-4a58-9e6d-125e1b704bf8" providerId="ADAL" clId="{2F42D7B1-B962-445E-8485-41980C3AF6B0}" dt="2023-02-27T15:37:40.016" v="2633"/>
            <ac:spMkLst>
              <pc:docMk/>
              <pc:sldMasterMk cId="3797982245" sldId="2147483648"/>
              <pc:sldLayoutMk cId="637432465" sldId="2147483666"/>
              <ac:spMk id="12" creationId="{9101541F-59D1-4BD5-AD24-814023F042A7}"/>
            </ac:spMkLst>
          </pc:spChg>
          <pc:spChg chg="mod modVis">
            <ac:chgData name="Doerfler, Lena" userId="aeb0559f-200d-4a58-9e6d-125e1b704bf8" providerId="ADAL" clId="{2F42D7B1-B962-445E-8485-41980C3AF6B0}" dt="2023-02-27T15:37:40.026" v="2636"/>
            <ac:spMkLst>
              <pc:docMk/>
              <pc:sldMasterMk cId="3797982245" sldId="2147483648"/>
              <pc:sldLayoutMk cId="637432465" sldId="2147483666"/>
              <ac:spMk id="14" creationId="{EBB21637-2AC6-40D3-8665-F25A47F007F3}"/>
            </ac:spMkLst>
          </pc:spChg>
        </pc:sldLayoutChg>
        <pc:sldLayoutChg chg="del">
          <pc:chgData name="Doerfler, Lena" userId="aeb0559f-200d-4a58-9e6d-125e1b704bf8" providerId="ADAL" clId="{2F42D7B1-B962-445E-8485-41980C3AF6B0}" dt="2023-03-01T14:15:16.376" v="6903" actId="2696"/>
          <pc:sldLayoutMkLst>
            <pc:docMk/>
            <pc:sldMasterMk cId="3797982245" sldId="2147483648"/>
            <pc:sldLayoutMk cId="2228514406" sldId="2147483669"/>
          </pc:sldLayoutMkLst>
        </pc:sldLayoutChg>
        <pc:sldLayoutChg chg="del">
          <pc:chgData name="Doerfler, Lena" userId="aeb0559f-200d-4a58-9e6d-125e1b704bf8" providerId="ADAL" clId="{2F42D7B1-B962-445E-8485-41980C3AF6B0}" dt="2023-03-01T14:15:16.361" v="6901" actId="2696"/>
          <pc:sldLayoutMkLst>
            <pc:docMk/>
            <pc:sldMasterMk cId="3797982245" sldId="2147483648"/>
            <pc:sldLayoutMk cId="1403583848" sldId="2147483672"/>
          </pc:sldLayoutMkLst>
        </pc:sldLayoutChg>
        <pc:sldLayoutChg chg="modSp del mod">
          <pc:chgData name="Doerfler, Lena" userId="aeb0559f-200d-4a58-9e6d-125e1b704bf8" providerId="ADAL" clId="{2F42D7B1-B962-445E-8485-41980C3AF6B0}" dt="2023-03-01T14:15:16.391" v="6907" actId="2696"/>
          <pc:sldLayoutMkLst>
            <pc:docMk/>
            <pc:sldMasterMk cId="3797982245" sldId="2147483648"/>
            <pc:sldLayoutMk cId="1984004726" sldId="2147483675"/>
          </pc:sldLayoutMkLst>
          <pc:spChg chg="mod">
            <ac:chgData name="Doerfler, Lena" userId="aeb0559f-200d-4a58-9e6d-125e1b704bf8" providerId="ADAL" clId="{2F42D7B1-B962-445E-8485-41980C3AF6B0}" dt="2023-02-27T15:37:41.059" v="2955" actId="790"/>
            <ac:spMkLst>
              <pc:docMk/>
              <pc:sldMasterMk cId="3797982245" sldId="2147483648"/>
              <pc:sldLayoutMk cId="1984004726" sldId="2147483675"/>
              <ac:spMk id="5" creationId="{14EF4EB6-98EC-4DC0-9B52-9B7E20B6CB47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390" v="6906" actId="2696"/>
          <pc:sldLayoutMkLst>
            <pc:docMk/>
            <pc:sldMasterMk cId="3797982245" sldId="2147483648"/>
            <pc:sldLayoutMk cId="4233008253" sldId="2147483677"/>
          </pc:sldLayoutMkLst>
          <pc:spChg chg="mod">
            <ac:chgData name="Doerfler, Lena" userId="aeb0559f-200d-4a58-9e6d-125e1b704bf8" providerId="ADAL" clId="{2F42D7B1-B962-445E-8485-41980C3AF6B0}" dt="2023-02-27T15:37:41.049" v="2952" actId="790"/>
            <ac:spMkLst>
              <pc:docMk/>
              <pc:sldMasterMk cId="3797982245" sldId="2147483648"/>
              <pc:sldLayoutMk cId="4233008253" sldId="2147483677"/>
              <ac:spMk id="6" creationId="{DF10217D-63D4-4BE3-BC31-6B908627107C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393" v="6909" actId="2696"/>
          <pc:sldLayoutMkLst>
            <pc:docMk/>
            <pc:sldMasterMk cId="3797982245" sldId="2147483648"/>
            <pc:sldLayoutMk cId="3825675485" sldId="2147483678"/>
          </pc:sldLayoutMkLst>
          <pc:spChg chg="mod">
            <ac:chgData name="Doerfler, Lena" userId="aeb0559f-200d-4a58-9e6d-125e1b704bf8" providerId="ADAL" clId="{2F42D7B1-B962-445E-8485-41980C3AF6B0}" dt="2023-02-27T15:37:41.078" v="2961" actId="790"/>
            <ac:spMkLst>
              <pc:docMk/>
              <pc:sldMasterMk cId="3797982245" sldId="2147483648"/>
              <pc:sldLayoutMk cId="3825675485" sldId="2147483678"/>
              <ac:spMk id="5" creationId="{BCA88A41-2E12-4F27-A399-FC543CFDEDD6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395" v="6911" actId="2696"/>
          <pc:sldLayoutMkLst>
            <pc:docMk/>
            <pc:sldMasterMk cId="3797982245" sldId="2147483648"/>
            <pc:sldLayoutMk cId="2947774965" sldId="2147483679"/>
          </pc:sldLayoutMkLst>
          <pc:spChg chg="mod">
            <ac:chgData name="Doerfler, Lena" userId="aeb0559f-200d-4a58-9e6d-125e1b704bf8" providerId="ADAL" clId="{2F42D7B1-B962-445E-8485-41980C3AF6B0}" dt="2023-02-27T15:37:41.109" v="2967" actId="790"/>
            <ac:spMkLst>
              <pc:docMk/>
              <pc:sldMasterMk cId="3797982245" sldId="2147483648"/>
              <pc:sldLayoutMk cId="2947774965" sldId="2147483679"/>
              <ac:spMk id="5" creationId="{25FE5864-A094-406E-89E9-D63179E2EABB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393" v="6908" actId="2696"/>
          <pc:sldLayoutMkLst>
            <pc:docMk/>
            <pc:sldMasterMk cId="3797982245" sldId="2147483648"/>
            <pc:sldLayoutMk cId="179682616" sldId="2147483680"/>
          </pc:sldLayoutMkLst>
          <pc:spChg chg="mod">
            <ac:chgData name="Doerfler, Lena" userId="aeb0559f-200d-4a58-9e6d-125e1b704bf8" providerId="ADAL" clId="{2F42D7B1-B962-445E-8485-41980C3AF6B0}" dt="2023-02-27T15:37:41.068" v="2958" actId="790"/>
            <ac:spMkLst>
              <pc:docMk/>
              <pc:sldMasterMk cId="3797982245" sldId="2147483648"/>
              <pc:sldLayoutMk cId="179682616" sldId="2147483680"/>
              <ac:spMk id="3" creationId="{00EEB925-07DF-4482-97BE-FA3B95518D29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394" v="6910" actId="2696"/>
          <pc:sldLayoutMkLst>
            <pc:docMk/>
            <pc:sldMasterMk cId="3797982245" sldId="2147483648"/>
            <pc:sldLayoutMk cId="2897420996" sldId="2147483681"/>
          </pc:sldLayoutMkLst>
          <pc:spChg chg="mod">
            <ac:chgData name="Doerfler, Lena" userId="aeb0559f-200d-4a58-9e6d-125e1b704bf8" providerId="ADAL" clId="{2F42D7B1-B962-445E-8485-41980C3AF6B0}" dt="2023-02-27T15:37:41.088" v="2964" actId="790"/>
            <ac:spMkLst>
              <pc:docMk/>
              <pc:sldMasterMk cId="3797982245" sldId="2147483648"/>
              <pc:sldLayoutMk cId="2897420996" sldId="2147483681"/>
              <ac:spMk id="6" creationId="{49886302-4F5D-487E-BE27-FD743DE82AD5}"/>
            </ac:spMkLst>
          </pc:spChg>
        </pc:sldLayoutChg>
        <pc:sldLayoutChg chg="del">
          <pc:chgData name="Doerfler, Lena" userId="aeb0559f-200d-4a58-9e6d-125e1b704bf8" providerId="ADAL" clId="{2F42D7B1-B962-445E-8485-41980C3AF6B0}" dt="2023-03-01T14:15:16.382" v="6904" actId="2696"/>
          <pc:sldLayoutMkLst>
            <pc:docMk/>
            <pc:sldMasterMk cId="3797982245" sldId="2147483648"/>
            <pc:sldLayoutMk cId="152451536" sldId="2147483685"/>
          </pc:sldLayoutMkLst>
        </pc:sldLayoutChg>
        <pc:sldLayoutChg chg="modSp del mod">
          <pc:chgData name="Doerfler, Lena" userId="aeb0559f-200d-4a58-9e6d-125e1b704bf8" providerId="ADAL" clId="{2F42D7B1-B962-445E-8485-41980C3AF6B0}" dt="2023-03-01T14:15:16.396" v="6912" actId="2696"/>
          <pc:sldLayoutMkLst>
            <pc:docMk/>
            <pc:sldMasterMk cId="3797982245" sldId="2147483648"/>
            <pc:sldLayoutMk cId="1645224656" sldId="2147483686"/>
          </pc:sldLayoutMkLst>
          <pc:spChg chg="mod">
            <ac:chgData name="Doerfler, Lena" userId="aeb0559f-200d-4a58-9e6d-125e1b704bf8" providerId="ADAL" clId="{2F42D7B1-B962-445E-8485-41980C3AF6B0}" dt="2023-02-27T15:37:41.116" v="2970" actId="790"/>
            <ac:spMkLst>
              <pc:docMk/>
              <pc:sldMasterMk cId="3797982245" sldId="2147483648"/>
              <pc:sldLayoutMk cId="1645224656" sldId="2147483686"/>
              <ac:spMk id="5" creationId="{86941DF2-0F6B-45C1-966C-06168FDE473B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398" v="6913" actId="2696"/>
          <pc:sldLayoutMkLst>
            <pc:docMk/>
            <pc:sldMasterMk cId="3797982245" sldId="2147483648"/>
            <pc:sldLayoutMk cId="2144476344" sldId="2147483687"/>
          </pc:sldLayoutMkLst>
          <pc:spChg chg="mod">
            <ac:chgData name="Doerfler, Lena" userId="aeb0559f-200d-4a58-9e6d-125e1b704bf8" providerId="ADAL" clId="{2F42D7B1-B962-445E-8485-41980C3AF6B0}" dt="2023-02-27T15:37:41.132" v="2973" actId="790"/>
            <ac:spMkLst>
              <pc:docMk/>
              <pc:sldMasterMk cId="3797982245" sldId="2147483648"/>
              <pc:sldLayoutMk cId="2144476344" sldId="2147483687"/>
              <ac:spMk id="5" creationId="{80AB8402-18D2-4C1D-8362-49FE78227748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399" v="6914" actId="2696"/>
          <pc:sldLayoutMkLst>
            <pc:docMk/>
            <pc:sldMasterMk cId="3797982245" sldId="2147483648"/>
            <pc:sldLayoutMk cId="1122588916" sldId="2147483688"/>
          </pc:sldLayoutMkLst>
          <pc:spChg chg="mod">
            <ac:chgData name="Doerfler, Lena" userId="aeb0559f-200d-4a58-9e6d-125e1b704bf8" providerId="ADAL" clId="{2F42D7B1-B962-445E-8485-41980C3AF6B0}" dt="2023-02-27T15:37:41.142" v="2976" actId="790"/>
            <ac:spMkLst>
              <pc:docMk/>
              <pc:sldMasterMk cId="3797982245" sldId="2147483648"/>
              <pc:sldLayoutMk cId="1122588916" sldId="2147483688"/>
              <ac:spMk id="5" creationId="{581B665A-2976-4A88-A0BA-F7EEBE9D5967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402" v="6915" actId="2696"/>
          <pc:sldLayoutMkLst>
            <pc:docMk/>
            <pc:sldMasterMk cId="3797982245" sldId="2147483648"/>
            <pc:sldLayoutMk cId="2425229447" sldId="2147483689"/>
          </pc:sldLayoutMkLst>
          <pc:spChg chg="mod">
            <ac:chgData name="Doerfler, Lena" userId="aeb0559f-200d-4a58-9e6d-125e1b704bf8" providerId="ADAL" clId="{2F42D7B1-B962-445E-8485-41980C3AF6B0}" dt="2023-02-27T15:37:41.149" v="2979" actId="790"/>
            <ac:spMkLst>
              <pc:docMk/>
              <pc:sldMasterMk cId="3797982245" sldId="2147483648"/>
              <pc:sldLayoutMk cId="2425229447" sldId="2147483689"/>
              <ac:spMk id="5" creationId="{CE86D920-A535-4D00-A458-6DBD6C171628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406" v="6916" actId="2696"/>
          <pc:sldLayoutMkLst>
            <pc:docMk/>
            <pc:sldMasterMk cId="3797982245" sldId="2147483648"/>
            <pc:sldLayoutMk cId="1840670461" sldId="2147483690"/>
          </pc:sldLayoutMkLst>
          <pc:spChg chg="mod">
            <ac:chgData name="Doerfler, Lena" userId="aeb0559f-200d-4a58-9e6d-125e1b704bf8" providerId="ADAL" clId="{2F42D7B1-B962-445E-8485-41980C3AF6B0}" dt="2023-02-27T15:37:41.159" v="2982" actId="790"/>
            <ac:spMkLst>
              <pc:docMk/>
              <pc:sldMasterMk cId="3797982245" sldId="2147483648"/>
              <pc:sldLayoutMk cId="1840670461" sldId="2147483690"/>
              <ac:spMk id="5" creationId="{726DF89F-3840-4195-BCD3-821375BA6DF4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407" v="6917" actId="2696"/>
          <pc:sldLayoutMkLst>
            <pc:docMk/>
            <pc:sldMasterMk cId="3797982245" sldId="2147483648"/>
            <pc:sldLayoutMk cId="4119715379" sldId="2147483691"/>
          </pc:sldLayoutMkLst>
          <pc:spChg chg="mod">
            <ac:chgData name="Doerfler, Lena" userId="aeb0559f-200d-4a58-9e6d-125e1b704bf8" providerId="ADAL" clId="{2F42D7B1-B962-445E-8485-41980C3AF6B0}" dt="2023-02-27T15:37:41.168" v="2985" actId="790"/>
            <ac:spMkLst>
              <pc:docMk/>
              <pc:sldMasterMk cId="3797982245" sldId="2147483648"/>
              <pc:sldLayoutMk cId="4119715379" sldId="2147483691"/>
              <ac:spMk id="4" creationId="{3C258A21-4C59-47C5-84E0-E72E4E1AF087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408" v="6918" actId="2696"/>
          <pc:sldLayoutMkLst>
            <pc:docMk/>
            <pc:sldMasterMk cId="3797982245" sldId="2147483648"/>
            <pc:sldLayoutMk cId="238361332" sldId="2147483692"/>
          </pc:sldLayoutMkLst>
          <pc:spChg chg="mod">
            <ac:chgData name="Doerfler, Lena" userId="aeb0559f-200d-4a58-9e6d-125e1b704bf8" providerId="ADAL" clId="{2F42D7B1-B962-445E-8485-41980C3AF6B0}" dt="2023-02-27T15:37:41.178" v="2988" actId="790"/>
            <ac:spMkLst>
              <pc:docMk/>
              <pc:sldMasterMk cId="3797982245" sldId="2147483648"/>
              <pc:sldLayoutMk cId="238361332" sldId="2147483692"/>
              <ac:spMk id="4" creationId="{31D1ABD7-86C5-4BD1-8941-39D4669A56C5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409" v="6919" actId="2696"/>
          <pc:sldLayoutMkLst>
            <pc:docMk/>
            <pc:sldMasterMk cId="3797982245" sldId="2147483648"/>
            <pc:sldLayoutMk cId="3563319980" sldId="2147483693"/>
          </pc:sldLayoutMkLst>
          <pc:spChg chg="mod">
            <ac:chgData name="Doerfler, Lena" userId="aeb0559f-200d-4a58-9e6d-125e1b704bf8" providerId="ADAL" clId="{2F42D7B1-B962-445E-8485-41980C3AF6B0}" dt="2023-02-27T15:37:41.178" v="2991" actId="790"/>
            <ac:spMkLst>
              <pc:docMk/>
              <pc:sldMasterMk cId="3797982245" sldId="2147483648"/>
              <pc:sldLayoutMk cId="3563319980" sldId="2147483693"/>
              <ac:spMk id="4" creationId="{CC562467-7D04-471D-8C85-F48D3BFB5CCE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410" v="6920" actId="2696"/>
          <pc:sldLayoutMkLst>
            <pc:docMk/>
            <pc:sldMasterMk cId="3797982245" sldId="2147483648"/>
            <pc:sldLayoutMk cId="3919666078" sldId="2147483694"/>
          </pc:sldLayoutMkLst>
          <pc:spChg chg="mod">
            <ac:chgData name="Doerfler, Lena" userId="aeb0559f-200d-4a58-9e6d-125e1b704bf8" providerId="ADAL" clId="{2F42D7B1-B962-445E-8485-41980C3AF6B0}" dt="2023-02-27T15:37:41.188" v="2994" actId="790"/>
            <ac:spMkLst>
              <pc:docMk/>
              <pc:sldMasterMk cId="3797982245" sldId="2147483648"/>
              <pc:sldLayoutMk cId="3919666078" sldId="2147483694"/>
              <ac:spMk id="4" creationId="{01F38755-1B90-4D37-BF79-46C9F566FA46}"/>
            </ac:spMkLst>
          </pc:spChg>
        </pc:sldLayoutChg>
        <pc:sldLayoutChg chg="modSp del mod">
          <pc:chgData name="Doerfler, Lena" userId="aeb0559f-200d-4a58-9e6d-125e1b704bf8" providerId="ADAL" clId="{2F42D7B1-B962-445E-8485-41980C3AF6B0}" dt="2023-03-01T14:15:16.412" v="6921" actId="2696"/>
          <pc:sldLayoutMkLst>
            <pc:docMk/>
            <pc:sldMasterMk cId="3797982245" sldId="2147483648"/>
            <pc:sldLayoutMk cId="582337147" sldId="2147483695"/>
          </pc:sldLayoutMkLst>
          <pc:spChg chg="mod">
            <ac:chgData name="Doerfler, Lena" userId="aeb0559f-200d-4a58-9e6d-125e1b704bf8" providerId="ADAL" clId="{2F42D7B1-B962-445E-8485-41980C3AF6B0}" dt="2023-02-27T15:37:41.209" v="2997" actId="790"/>
            <ac:spMkLst>
              <pc:docMk/>
              <pc:sldMasterMk cId="3797982245" sldId="2147483648"/>
              <pc:sldLayoutMk cId="582337147" sldId="2147483695"/>
              <ac:spMk id="4" creationId="{3C3A7E0D-EC4A-412E-941E-8556563AB57F}"/>
            </ac:spMkLst>
          </pc:spChg>
        </pc:sldLayoutChg>
      </pc:sldMasterChg>
      <pc:sldMasterChg chg="modSp del mod delSldLayout">
        <pc:chgData name="Doerfler, Lena" userId="aeb0559f-200d-4a58-9e6d-125e1b704bf8" providerId="ADAL" clId="{2F42D7B1-B962-445E-8485-41980C3AF6B0}" dt="2023-03-01T14:16:31.609" v="8350" actId="2696"/>
        <pc:sldMasterMkLst>
          <pc:docMk/>
          <pc:sldMasterMk cId="953507331" sldId="2147483696"/>
        </pc:sldMasterMkLst>
        <pc:spChg chg="mod replST delST">
          <ac:chgData name="Doerfler, Lena" userId="aeb0559f-200d-4a58-9e6d-125e1b704bf8" providerId="ADAL" clId="{2F42D7B1-B962-445E-8485-41980C3AF6B0}" dt="2023-03-01T14:15:19.680" v="7241"/>
          <ac:spMkLst>
            <pc:docMk/>
            <pc:sldMasterMk cId="953507331" sldId="2147483696"/>
            <ac:spMk id="8" creationId="{3B045111-8DB6-4E89-8ACE-F9267DF8EF55}"/>
          </ac:spMkLst>
        </pc:spChg>
        <pc:sldLayoutChg chg="del">
          <pc:chgData name="Doerfler, Lena" userId="aeb0559f-200d-4a58-9e6d-125e1b704bf8" providerId="ADAL" clId="{2F42D7B1-B962-445E-8485-41980C3AF6B0}" dt="2023-03-01T14:16:31.529" v="8323" actId="2696"/>
          <pc:sldLayoutMkLst>
            <pc:docMk/>
            <pc:sldMasterMk cId="953507331" sldId="2147483696"/>
            <pc:sldLayoutMk cId="3068883307" sldId="2147483697"/>
          </pc:sldLayoutMkLst>
        </pc:sldLayoutChg>
        <pc:sldLayoutChg chg="del">
          <pc:chgData name="Doerfler, Lena" userId="aeb0559f-200d-4a58-9e6d-125e1b704bf8" providerId="ADAL" clId="{2F42D7B1-B962-445E-8485-41980C3AF6B0}" dt="2023-03-01T14:16:31.531" v="8324" actId="2696"/>
          <pc:sldLayoutMkLst>
            <pc:docMk/>
            <pc:sldMasterMk cId="953507331" sldId="2147483696"/>
            <pc:sldLayoutMk cId="4125602536" sldId="2147483698"/>
          </pc:sldLayoutMkLst>
        </pc:sldLayoutChg>
        <pc:sldLayoutChg chg="del">
          <pc:chgData name="Doerfler, Lena" userId="aeb0559f-200d-4a58-9e6d-125e1b704bf8" providerId="ADAL" clId="{2F42D7B1-B962-445E-8485-41980C3AF6B0}" dt="2023-03-01T14:16:31.533" v="8325" actId="2696"/>
          <pc:sldLayoutMkLst>
            <pc:docMk/>
            <pc:sldMasterMk cId="953507331" sldId="2147483696"/>
            <pc:sldLayoutMk cId="1447331373" sldId="2147483699"/>
          </pc:sldLayoutMkLst>
        </pc:sldLayoutChg>
        <pc:sldLayoutChg chg="del">
          <pc:chgData name="Doerfler, Lena" userId="aeb0559f-200d-4a58-9e6d-125e1b704bf8" providerId="ADAL" clId="{2F42D7B1-B962-445E-8485-41980C3AF6B0}" dt="2023-03-01T14:16:31.538" v="8326" actId="2696"/>
          <pc:sldLayoutMkLst>
            <pc:docMk/>
            <pc:sldMasterMk cId="953507331" sldId="2147483696"/>
            <pc:sldLayoutMk cId="3324408049" sldId="2147483700"/>
          </pc:sldLayoutMkLst>
        </pc:sldLayoutChg>
        <pc:sldLayoutChg chg="del">
          <pc:chgData name="Doerfler, Lena" userId="aeb0559f-200d-4a58-9e6d-125e1b704bf8" providerId="ADAL" clId="{2F42D7B1-B962-445E-8485-41980C3AF6B0}" dt="2023-03-01T14:16:31.541" v="8327" actId="2696"/>
          <pc:sldLayoutMkLst>
            <pc:docMk/>
            <pc:sldMasterMk cId="953507331" sldId="2147483696"/>
            <pc:sldLayoutMk cId="3835958996" sldId="2147483701"/>
          </pc:sldLayoutMkLst>
        </pc:sldLayoutChg>
        <pc:sldLayoutChg chg="del">
          <pc:chgData name="Doerfler, Lena" userId="aeb0559f-200d-4a58-9e6d-125e1b704bf8" providerId="ADAL" clId="{2F42D7B1-B962-445E-8485-41980C3AF6B0}" dt="2023-03-01T14:16:31.543" v="8328" actId="2696"/>
          <pc:sldLayoutMkLst>
            <pc:docMk/>
            <pc:sldMasterMk cId="953507331" sldId="2147483696"/>
            <pc:sldLayoutMk cId="697837363" sldId="2147483702"/>
          </pc:sldLayoutMkLst>
        </pc:sldLayoutChg>
        <pc:sldLayoutChg chg="del">
          <pc:chgData name="Doerfler, Lena" userId="aeb0559f-200d-4a58-9e6d-125e1b704bf8" providerId="ADAL" clId="{2F42D7B1-B962-445E-8485-41980C3AF6B0}" dt="2023-03-01T14:16:31.545" v="8329" actId="2696"/>
          <pc:sldLayoutMkLst>
            <pc:docMk/>
            <pc:sldMasterMk cId="953507331" sldId="2147483696"/>
            <pc:sldLayoutMk cId="3115817077" sldId="2147483703"/>
          </pc:sldLayoutMkLst>
        </pc:sldLayoutChg>
        <pc:sldLayoutChg chg="del">
          <pc:chgData name="Doerfler, Lena" userId="aeb0559f-200d-4a58-9e6d-125e1b704bf8" providerId="ADAL" clId="{2F42D7B1-B962-445E-8485-41980C3AF6B0}" dt="2023-03-01T14:16:31.547" v="8330" actId="2696"/>
          <pc:sldLayoutMkLst>
            <pc:docMk/>
            <pc:sldMasterMk cId="953507331" sldId="2147483696"/>
            <pc:sldLayoutMk cId="1269912417" sldId="2147483704"/>
          </pc:sldLayoutMkLst>
        </pc:sldLayoutChg>
        <pc:sldLayoutChg chg="del">
          <pc:chgData name="Doerfler, Lena" userId="aeb0559f-200d-4a58-9e6d-125e1b704bf8" providerId="ADAL" clId="{2F42D7B1-B962-445E-8485-41980C3AF6B0}" dt="2023-03-01T14:16:31.552" v="8331" actId="2696"/>
          <pc:sldLayoutMkLst>
            <pc:docMk/>
            <pc:sldMasterMk cId="953507331" sldId="2147483696"/>
            <pc:sldLayoutMk cId="4207868886" sldId="2147483705"/>
          </pc:sldLayoutMkLst>
        </pc:sldLayoutChg>
        <pc:sldLayoutChg chg="del">
          <pc:chgData name="Doerfler, Lena" userId="aeb0559f-200d-4a58-9e6d-125e1b704bf8" providerId="ADAL" clId="{2F42D7B1-B962-445E-8485-41980C3AF6B0}" dt="2023-03-01T14:16:31.555" v="8332" actId="2696"/>
          <pc:sldLayoutMkLst>
            <pc:docMk/>
            <pc:sldMasterMk cId="953507331" sldId="2147483696"/>
            <pc:sldLayoutMk cId="3597553941" sldId="2147483706"/>
          </pc:sldLayoutMkLst>
        </pc:sldLayoutChg>
        <pc:sldLayoutChg chg="del">
          <pc:chgData name="Doerfler, Lena" userId="aeb0559f-200d-4a58-9e6d-125e1b704bf8" providerId="ADAL" clId="{2F42D7B1-B962-445E-8485-41980C3AF6B0}" dt="2023-03-01T14:16:31.558" v="8333" actId="2696"/>
          <pc:sldLayoutMkLst>
            <pc:docMk/>
            <pc:sldMasterMk cId="953507331" sldId="2147483696"/>
            <pc:sldLayoutMk cId="1427894237" sldId="2147483707"/>
          </pc:sldLayoutMkLst>
        </pc:sldLayoutChg>
        <pc:sldLayoutChg chg="del">
          <pc:chgData name="Doerfler, Lena" userId="aeb0559f-200d-4a58-9e6d-125e1b704bf8" providerId="ADAL" clId="{2F42D7B1-B962-445E-8485-41980C3AF6B0}" dt="2023-03-01T14:16:31.560" v="8334" actId="2696"/>
          <pc:sldLayoutMkLst>
            <pc:docMk/>
            <pc:sldMasterMk cId="953507331" sldId="2147483696"/>
            <pc:sldLayoutMk cId="3682204031" sldId="2147483708"/>
          </pc:sldLayoutMkLst>
        </pc:sldLayoutChg>
        <pc:sldLayoutChg chg="del">
          <pc:chgData name="Doerfler, Lena" userId="aeb0559f-200d-4a58-9e6d-125e1b704bf8" providerId="ADAL" clId="{2F42D7B1-B962-445E-8485-41980C3AF6B0}" dt="2023-03-01T14:16:31.563" v="8335" actId="2696"/>
          <pc:sldLayoutMkLst>
            <pc:docMk/>
            <pc:sldMasterMk cId="953507331" sldId="2147483696"/>
            <pc:sldLayoutMk cId="3929082105" sldId="2147483709"/>
          </pc:sldLayoutMkLst>
        </pc:sldLayoutChg>
        <pc:sldLayoutChg chg="del">
          <pc:chgData name="Doerfler, Lena" userId="aeb0559f-200d-4a58-9e6d-125e1b704bf8" providerId="ADAL" clId="{2F42D7B1-B962-445E-8485-41980C3AF6B0}" dt="2023-03-01T14:16:31.565" v="8336" actId="2696"/>
          <pc:sldLayoutMkLst>
            <pc:docMk/>
            <pc:sldMasterMk cId="953507331" sldId="2147483696"/>
            <pc:sldLayoutMk cId="3863144599" sldId="2147483710"/>
          </pc:sldLayoutMkLst>
        </pc:sldLayoutChg>
        <pc:sldLayoutChg chg="del">
          <pc:chgData name="Doerfler, Lena" userId="aeb0559f-200d-4a58-9e6d-125e1b704bf8" providerId="ADAL" clId="{2F42D7B1-B962-445E-8485-41980C3AF6B0}" dt="2023-03-01T14:16:31.570" v="8337" actId="2696"/>
          <pc:sldLayoutMkLst>
            <pc:docMk/>
            <pc:sldMasterMk cId="953507331" sldId="2147483696"/>
            <pc:sldLayoutMk cId="2353514628" sldId="2147483711"/>
          </pc:sldLayoutMkLst>
        </pc:sldLayoutChg>
        <pc:sldLayoutChg chg="del">
          <pc:chgData name="Doerfler, Lena" userId="aeb0559f-200d-4a58-9e6d-125e1b704bf8" providerId="ADAL" clId="{2F42D7B1-B962-445E-8485-41980C3AF6B0}" dt="2023-03-01T14:16:31.573" v="8338" actId="2696"/>
          <pc:sldLayoutMkLst>
            <pc:docMk/>
            <pc:sldMasterMk cId="953507331" sldId="2147483696"/>
            <pc:sldLayoutMk cId="3541170700" sldId="2147483712"/>
          </pc:sldLayoutMkLst>
        </pc:sldLayoutChg>
        <pc:sldLayoutChg chg="del">
          <pc:chgData name="Doerfler, Lena" userId="aeb0559f-200d-4a58-9e6d-125e1b704bf8" providerId="ADAL" clId="{2F42D7B1-B962-445E-8485-41980C3AF6B0}" dt="2023-03-01T14:16:31.576" v="8339" actId="2696"/>
          <pc:sldLayoutMkLst>
            <pc:docMk/>
            <pc:sldMasterMk cId="953507331" sldId="2147483696"/>
            <pc:sldLayoutMk cId="4071749917" sldId="2147483713"/>
          </pc:sldLayoutMkLst>
        </pc:sldLayoutChg>
        <pc:sldLayoutChg chg="del">
          <pc:chgData name="Doerfler, Lena" userId="aeb0559f-200d-4a58-9e6d-125e1b704bf8" providerId="ADAL" clId="{2F42D7B1-B962-445E-8485-41980C3AF6B0}" dt="2023-03-01T14:16:31.579" v="8340" actId="2696"/>
          <pc:sldLayoutMkLst>
            <pc:docMk/>
            <pc:sldMasterMk cId="953507331" sldId="2147483696"/>
            <pc:sldLayoutMk cId="2952884991" sldId="2147483714"/>
          </pc:sldLayoutMkLst>
        </pc:sldLayoutChg>
        <pc:sldLayoutChg chg="del">
          <pc:chgData name="Doerfler, Lena" userId="aeb0559f-200d-4a58-9e6d-125e1b704bf8" providerId="ADAL" clId="{2F42D7B1-B962-445E-8485-41980C3AF6B0}" dt="2023-03-01T14:16:31.581" v="8341" actId="2696"/>
          <pc:sldLayoutMkLst>
            <pc:docMk/>
            <pc:sldMasterMk cId="953507331" sldId="2147483696"/>
            <pc:sldLayoutMk cId="1517393570" sldId="2147483715"/>
          </pc:sldLayoutMkLst>
        </pc:sldLayoutChg>
        <pc:sldLayoutChg chg="del">
          <pc:chgData name="Doerfler, Lena" userId="aeb0559f-200d-4a58-9e6d-125e1b704bf8" providerId="ADAL" clId="{2F42D7B1-B962-445E-8485-41980C3AF6B0}" dt="2023-03-01T14:16:31.585" v="8342" actId="2696"/>
          <pc:sldLayoutMkLst>
            <pc:docMk/>
            <pc:sldMasterMk cId="953507331" sldId="2147483696"/>
            <pc:sldLayoutMk cId="3780910110" sldId="2147483716"/>
          </pc:sldLayoutMkLst>
        </pc:sldLayoutChg>
        <pc:sldLayoutChg chg="del">
          <pc:chgData name="Doerfler, Lena" userId="aeb0559f-200d-4a58-9e6d-125e1b704bf8" providerId="ADAL" clId="{2F42D7B1-B962-445E-8485-41980C3AF6B0}" dt="2023-03-01T14:16:31.589" v="8343" actId="2696"/>
          <pc:sldLayoutMkLst>
            <pc:docMk/>
            <pc:sldMasterMk cId="953507331" sldId="2147483696"/>
            <pc:sldLayoutMk cId="183178347" sldId="2147483717"/>
          </pc:sldLayoutMkLst>
        </pc:sldLayoutChg>
        <pc:sldLayoutChg chg="del">
          <pc:chgData name="Doerfler, Lena" userId="aeb0559f-200d-4a58-9e6d-125e1b704bf8" providerId="ADAL" clId="{2F42D7B1-B962-445E-8485-41980C3AF6B0}" dt="2023-03-01T14:16:31.591" v="8344" actId="2696"/>
          <pc:sldLayoutMkLst>
            <pc:docMk/>
            <pc:sldMasterMk cId="953507331" sldId="2147483696"/>
            <pc:sldLayoutMk cId="2449145950" sldId="2147483718"/>
          </pc:sldLayoutMkLst>
        </pc:sldLayoutChg>
        <pc:sldLayoutChg chg="del">
          <pc:chgData name="Doerfler, Lena" userId="aeb0559f-200d-4a58-9e6d-125e1b704bf8" providerId="ADAL" clId="{2F42D7B1-B962-445E-8485-41980C3AF6B0}" dt="2023-03-01T14:16:31.593" v="8345" actId="2696"/>
          <pc:sldLayoutMkLst>
            <pc:docMk/>
            <pc:sldMasterMk cId="953507331" sldId="2147483696"/>
            <pc:sldLayoutMk cId="4471252" sldId="2147483719"/>
          </pc:sldLayoutMkLst>
        </pc:sldLayoutChg>
        <pc:sldLayoutChg chg="del">
          <pc:chgData name="Doerfler, Lena" userId="aeb0559f-200d-4a58-9e6d-125e1b704bf8" providerId="ADAL" clId="{2F42D7B1-B962-445E-8485-41980C3AF6B0}" dt="2023-03-01T14:16:31.596" v="8346" actId="2696"/>
          <pc:sldLayoutMkLst>
            <pc:docMk/>
            <pc:sldMasterMk cId="953507331" sldId="2147483696"/>
            <pc:sldLayoutMk cId="980837933" sldId="2147483720"/>
          </pc:sldLayoutMkLst>
        </pc:sldLayoutChg>
        <pc:sldLayoutChg chg="del">
          <pc:chgData name="Doerfler, Lena" userId="aeb0559f-200d-4a58-9e6d-125e1b704bf8" providerId="ADAL" clId="{2F42D7B1-B962-445E-8485-41980C3AF6B0}" dt="2023-03-01T14:16:31.598" v="8347" actId="2696"/>
          <pc:sldLayoutMkLst>
            <pc:docMk/>
            <pc:sldMasterMk cId="953507331" sldId="2147483696"/>
            <pc:sldLayoutMk cId="2700131115" sldId="2147483721"/>
          </pc:sldLayoutMkLst>
        </pc:sldLayoutChg>
        <pc:sldLayoutChg chg="del">
          <pc:chgData name="Doerfler, Lena" userId="aeb0559f-200d-4a58-9e6d-125e1b704bf8" providerId="ADAL" clId="{2F42D7B1-B962-445E-8485-41980C3AF6B0}" dt="2023-03-01T14:16:31.602" v="8348" actId="2696"/>
          <pc:sldLayoutMkLst>
            <pc:docMk/>
            <pc:sldMasterMk cId="953507331" sldId="2147483696"/>
            <pc:sldLayoutMk cId="1362159384" sldId="2147483722"/>
          </pc:sldLayoutMkLst>
        </pc:sldLayoutChg>
        <pc:sldLayoutChg chg="del">
          <pc:chgData name="Doerfler, Lena" userId="aeb0559f-200d-4a58-9e6d-125e1b704bf8" providerId="ADAL" clId="{2F42D7B1-B962-445E-8485-41980C3AF6B0}" dt="2023-03-01T14:16:31.605" v="8349" actId="2696"/>
          <pc:sldLayoutMkLst>
            <pc:docMk/>
            <pc:sldMasterMk cId="953507331" sldId="2147483696"/>
            <pc:sldLayoutMk cId="1210443537" sldId="2147483723"/>
          </pc:sldLayoutMkLst>
        </pc:sldLayoutChg>
      </pc:sldMasterChg>
      <pc:sldMasterChg chg="modSp mod modSldLayout">
        <pc:chgData name="Doerfler, Lena" userId="aeb0559f-200d-4a58-9e6d-125e1b704bf8" providerId="ADAL" clId="{2F42D7B1-B962-445E-8485-41980C3AF6B0}" dt="2023-03-01T14:18:54.052" v="9086" actId="790"/>
        <pc:sldMasterMkLst>
          <pc:docMk/>
          <pc:sldMasterMk cId="3193854635" sldId="2147483724"/>
        </pc:sldMasterMkLst>
        <pc:spChg chg="mod">
          <ac:chgData name="Doerfler, Lena" userId="aeb0559f-200d-4a58-9e6d-125e1b704bf8" providerId="ADAL" clId="{2F42D7B1-B962-445E-8485-41980C3AF6B0}" dt="2023-03-01T14:18:53.332" v="8596" actId="790"/>
          <ac:spMkLst>
            <pc:docMk/>
            <pc:sldMasterMk cId="3193854635" sldId="2147483724"/>
            <ac:spMk id="2" creationId="{7EE5D475-DF19-4144-995E-F7C3970B86A2}"/>
          </ac:spMkLst>
        </pc:spChg>
        <pc:spChg chg="mod">
          <ac:chgData name="Doerfler, Lena" userId="aeb0559f-200d-4a58-9e6d-125e1b704bf8" providerId="ADAL" clId="{2F42D7B1-B962-445E-8485-41980C3AF6B0}" dt="2023-03-01T14:18:53.334" v="8597" actId="790"/>
          <ac:spMkLst>
            <pc:docMk/>
            <pc:sldMasterMk cId="3193854635" sldId="2147483724"/>
            <ac:spMk id="3" creationId="{F3A34782-E3A2-CF42-9904-29EE5398AD9A}"/>
          </ac:spMkLst>
        </pc:spChg>
        <pc:spChg chg="mod">
          <ac:chgData name="Doerfler, Lena" userId="aeb0559f-200d-4a58-9e6d-125e1b704bf8" providerId="ADAL" clId="{2F42D7B1-B962-445E-8485-41980C3AF6B0}" dt="2023-03-01T14:18:53.337" v="8599" actId="790"/>
          <ac:spMkLst>
            <pc:docMk/>
            <pc:sldMasterMk cId="3193854635" sldId="2147483724"/>
            <ac:spMk id="4" creationId="{3983328E-748D-3F4E-9827-CEDBAE65A398}"/>
          </ac:spMkLst>
        </pc:spChg>
        <pc:spChg chg="mod">
          <ac:chgData name="Doerfler, Lena" userId="aeb0559f-200d-4a58-9e6d-125e1b704bf8" providerId="ADAL" clId="{2F42D7B1-B962-445E-8485-41980C3AF6B0}" dt="2023-03-01T14:18:53.335" v="8598" actId="790"/>
          <ac:spMkLst>
            <pc:docMk/>
            <pc:sldMasterMk cId="3193854635" sldId="2147483724"/>
            <ac:spMk id="6" creationId="{8F3E9BB6-5D8A-8147-AD61-F2C10BA13284}"/>
          </ac:spMkLst>
        </pc:spChg>
        <pc:spChg chg="mod replST delST">
          <ac:chgData name="Doerfler, Lena" userId="aeb0559f-200d-4a58-9e6d-125e1b704bf8" providerId="ADAL" clId="{2F42D7B1-B962-445E-8485-41980C3AF6B0}" dt="2023-03-01T14:18:53.339" v="8601" actId="790"/>
          <ac:spMkLst>
            <pc:docMk/>
            <pc:sldMasterMk cId="3193854635" sldId="2147483724"/>
            <ac:spMk id="8" creationId="{3B045111-8DB6-4E89-8ACE-F9267DF8EF55}"/>
          </ac:spMkLst>
        </pc:spChg>
        <pc:spChg chg="mod">
          <ac:chgData name="Doerfler, Lena" userId="aeb0559f-200d-4a58-9e6d-125e1b704bf8" providerId="ADAL" clId="{2F42D7B1-B962-445E-8485-41980C3AF6B0}" dt="2023-03-01T14:18:53.886" v="9014" actId="790"/>
          <ac:spMkLst>
            <pc:docMk/>
            <pc:sldMasterMk cId="3193854635" sldId="2147483724"/>
            <ac:spMk id="9" creationId="{9DB09A8C-0A47-46B9-974A-D9A1F4E4F2AC}"/>
          </ac:spMkLst>
        </pc:spChg>
        <pc:sldLayoutChg chg="modSp mod">
          <pc:chgData name="Doerfler, Lena" userId="aeb0559f-200d-4a58-9e6d-125e1b704bf8" providerId="ADAL" clId="{2F42D7B1-B962-445E-8485-41980C3AF6B0}" dt="2023-03-01T14:18:53.902" v="9017" actId="790"/>
          <pc:sldLayoutMkLst>
            <pc:docMk/>
            <pc:sldMasterMk cId="3193854635" sldId="2147483724"/>
            <pc:sldLayoutMk cId="2580488740" sldId="2147483729"/>
          </pc:sldLayoutMkLst>
          <pc:spChg chg="mod">
            <ac:chgData name="Doerfler, Lena" userId="aeb0559f-200d-4a58-9e6d-125e1b704bf8" providerId="ADAL" clId="{2F42D7B1-B962-445E-8485-41980C3AF6B0}" dt="2023-03-01T14:18:53.902" v="9017" actId="790"/>
            <ac:spMkLst>
              <pc:docMk/>
              <pc:sldMasterMk cId="3193854635" sldId="2147483724"/>
              <pc:sldLayoutMk cId="2580488740" sldId="2147483729"/>
              <ac:spMk id="15" creationId="{96942B6F-6432-449E-93DB-86445774FF79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08" v="9020" actId="790"/>
          <pc:sldLayoutMkLst>
            <pc:docMk/>
            <pc:sldMasterMk cId="3193854635" sldId="2147483724"/>
            <pc:sldLayoutMk cId="468666011" sldId="2147483730"/>
          </pc:sldLayoutMkLst>
          <pc:spChg chg="mod">
            <ac:chgData name="Doerfler, Lena" userId="aeb0559f-200d-4a58-9e6d-125e1b704bf8" providerId="ADAL" clId="{2F42D7B1-B962-445E-8485-41980C3AF6B0}" dt="2023-03-01T14:18:53.908" v="9020" actId="790"/>
            <ac:spMkLst>
              <pc:docMk/>
              <pc:sldMasterMk cId="3193854635" sldId="2147483724"/>
              <pc:sldLayoutMk cId="468666011" sldId="2147483730"/>
              <ac:spMk id="16" creationId="{D0448C96-C7A5-4D51-ADCB-AC08FC3B747E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14" v="9023" actId="790"/>
          <pc:sldLayoutMkLst>
            <pc:docMk/>
            <pc:sldMasterMk cId="3193854635" sldId="2147483724"/>
            <pc:sldLayoutMk cId="1186097881" sldId="2147483731"/>
          </pc:sldLayoutMkLst>
          <pc:spChg chg="mod">
            <ac:chgData name="Doerfler, Lena" userId="aeb0559f-200d-4a58-9e6d-125e1b704bf8" providerId="ADAL" clId="{2F42D7B1-B962-445E-8485-41980C3AF6B0}" dt="2023-03-01T14:18:53.914" v="9023" actId="790"/>
            <ac:spMkLst>
              <pc:docMk/>
              <pc:sldMasterMk cId="3193854635" sldId="2147483724"/>
              <pc:sldLayoutMk cId="1186097881" sldId="2147483731"/>
              <ac:spMk id="16" creationId="{D0448C96-C7A5-4D51-ADCB-AC08FC3B747E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21" v="9026" actId="790"/>
          <pc:sldLayoutMkLst>
            <pc:docMk/>
            <pc:sldMasterMk cId="3193854635" sldId="2147483724"/>
            <pc:sldLayoutMk cId="1480406698" sldId="2147483732"/>
          </pc:sldLayoutMkLst>
          <pc:spChg chg="mod">
            <ac:chgData name="Doerfler, Lena" userId="aeb0559f-200d-4a58-9e6d-125e1b704bf8" providerId="ADAL" clId="{2F42D7B1-B962-445E-8485-41980C3AF6B0}" dt="2023-03-01T14:18:53.921" v="9026" actId="790"/>
            <ac:spMkLst>
              <pc:docMk/>
              <pc:sldMasterMk cId="3193854635" sldId="2147483724"/>
              <pc:sldLayoutMk cId="1480406698" sldId="2147483732"/>
              <ac:spMk id="30" creationId="{E5EFCC90-CE63-48AF-A0FF-289C0EAB4413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27" v="9029" actId="790"/>
          <pc:sldLayoutMkLst>
            <pc:docMk/>
            <pc:sldMasterMk cId="3193854635" sldId="2147483724"/>
            <pc:sldLayoutMk cId="2522055687" sldId="2147483733"/>
          </pc:sldLayoutMkLst>
          <pc:spChg chg="mod">
            <ac:chgData name="Doerfler, Lena" userId="aeb0559f-200d-4a58-9e6d-125e1b704bf8" providerId="ADAL" clId="{2F42D7B1-B962-445E-8485-41980C3AF6B0}" dt="2023-03-01T14:18:53.927" v="9029" actId="790"/>
            <ac:spMkLst>
              <pc:docMk/>
              <pc:sldMasterMk cId="3193854635" sldId="2147483724"/>
              <pc:sldLayoutMk cId="2522055687" sldId="2147483733"/>
              <ac:spMk id="33" creationId="{8C3CA609-D3D2-4EDB-8902-9B5570BE9E67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34" v="9032" actId="790"/>
          <pc:sldLayoutMkLst>
            <pc:docMk/>
            <pc:sldMasterMk cId="3193854635" sldId="2147483724"/>
            <pc:sldLayoutMk cId="583924219" sldId="2147483734"/>
          </pc:sldLayoutMkLst>
          <pc:spChg chg="mod">
            <ac:chgData name="Doerfler, Lena" userId="aeb0559f-200d-4a58-9e6d-125e1b704bf8" providerId="ADAL" clId="{2F42D7B1-B962-445E-8485-41980C3AF6B0}" dt="2023-03-01T14:18:53.934" v="9032" actId="790"/>
            <ac:spMkLst>
              <pc:docMk/>
              <pc:sldMasterMk cId="3193854635" sldId="2147483724"/>
              <pc:sldLayoutMk cId="583924219" sldId="2147483734"/>
              <ac:spMk id="13" creationId="{5892E75D-6086-44ED-A3F2-C52076A2B07B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40" v="9035" actId="790"/>
          <pc:sldLayoutMkLst>
            <pc:docMk/>
            <pc:sldMasterMk cId="3193854635" sldId="2147483724"/>
            <pc:sldLayoutMk cId="2799796674" sldId="2147483735"/>
          </pc:sldLayoutMkLst>
          <pc:spChg chg="mod">
            <ac:chgData name="Doerfler, Lena" userId="aeb0559f-200d-4a58-9e6d-125e1b704bf8" providerId="ADAL" clId="{2F42D7B1-B962-445E-8485-41980C3AF6B0}" dt="2023-03-01T14:18:53.940" v="9035" actId="790"/>
            <ac:spMkLst>
              <pc:docMk/>
              <pc:sldMasterMk cId="3193854635" sldId="2147483724"/>
              <pc:sldLayoutMk cId="2799796674" sldId="2147483735"/>
              <ac:spMk id="21" creationId="{47E42470-D049-41AB-8A43-A2E0B46A97C3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46" v="9038" actId="790"/>
          <pc:sldLayoutMkLst>
            <pc:docMk/>
            <pc:sldMasterMk cId="3193854635" sldId="2147483724"/>
            <pc:sldLayoutMk cId="1939149692" sldId="2147483736"/>
          </pc:sldLayoutMkLst>
          <pc:spChg chg="mod">
            <ac:chgData name="Doerfler, Lena" userId="aeb0559f-200d-4a58-9e6d-125e1b704bf8" providerId="ADAL" clId="{2F42D7B1-B962-445E-8485-41980C3AF6B0}" dt="2023-03-01T14:18:53.946" v="9038" actId="790"/>
            <ac:spMkLst>
              <pc:docMk/>
              <pc:sldMasterMk cId="3193854635" sldId="2147483724"/>
              <pc:sldLayoutMk cId="1939149692" sldId="2147483736"/>
              <ac:spMk id="31" creationId="{9AB4B1FB-4818-4EBC-9655-8FF3990886AE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52" v="9041" actId="790"/>
          <pc:sldLayoutMkLst>
            <pc:docMk/>
            <pc:sldMasterMk cId="3193854635" sldId="2147483724"/>
            <pc:sldLayoutMk cId="348808798" sldId="2147483737"/>
          </pc:sldLayoutMkLst>
          <pc:spChg chg="mod">
            <ac:chgData name="Doerfler, Lena" userId="aeb0559f-200d-4a58-9e6d-125e1b704bf8" providerId="ADAL" clId="{2F42D7B1-B962-445E-8485-41980C3AF6B0}" dt="2023-03-01T14:18:53.952" v="9041" actId="790"/>
            <ac:spMkLst>
              <pc:docMk/>
              <pc:sldMasterMk cId="3193854635" sldId="2147483724"/>
              <pc:sldLayoutMk cId="348808798" sldId="2147483737"/>
              <ac:spMk id="23" creationId="{981CBBCE-2F50-4DAA-8EEF-BE13E378945D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61" v="9044" actId="790"/>
          <pc:sldLayoutMkLst>
            <pc:docMk/>
            <pc:sldMasterMk cId="3193854635" sldId="2147483724"/>
            <pc:sldLayoutMk cId="2222893461" sldId="2147483738"/>
          </pc:sldLayoutMkLst>
          <pc:spChg chg="mod">
            <ac:chgData name="Doerfler, Lena" userId="aeb0559f-200d-4a58-9e6d-125e1b704bf8" providerId="ADAL" clId="{2F42D7B1-B962-445E-8485-41980C3AF6B0}" dt="2023-03-01T14:18:53.961" v="9044" actId="790"/>
            <ac:spMkLst>
              <pc:docMk/>
              <pc:sldMasterMk cId="3193854635" sldId="2147483724"/>
              <pc:sldLayoutMk cId="2222893461" sldId="2147483738"/>
              <ac:spMk id="30" creationId="{8DF9F61A-EB57-4769-AE60-5C6DB24E57C2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77" v="9047" actId="790"/>
          <pc:sldLayoutMkLst>
            <pc:docMk/>
            <pc:sldMasterMk cId="3193854635" sldId="2147483724"/>
            <pc:sldLayoutMk cId="2878340095" sldId="2147483739"/>
          </pc:sldLayoutMkLst>
          <pc:spChg chg="mod">
            <ac:chgData name="Doerfler, Lena" userId="aeb0559f-200d-4a58-9e6d-125e1b704bf8" providerId="ADAL" clId="{2F42D7B1-B962-445E-8485-41980C3AF6B0}" dt="2023-03-01T14:18:53.977" v="9047" actId="790"/>
            <ac:spMkLst>
              <pc:docMk/>
              <pc:sldMasterMk cId="3193854635" sldId="2147483724"/>
              <pc:sldLayoutMk cId="2878340095" sldId="2147483739"/>
              <ac:spMk id="20" creationId="{2FF53B4A-334E-4924-BF1C-438DB6679D2B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84" v="9050" actId="790"/>
          <pc:sldLayoutMkLst>
            <pc:docMk/>
            <pc:sldMasterMk cId="3193854635" sldId="2147483724"/>
            <pc:sldLayoutMk cId="2582131991" sldId="2147483740"/>
          </pc:sldLayoutMkLst>
          <pc:spChg chg="mod">
            <ac:chgData name="Doerfler, Lena" userId="aeb0559f-200d-4a58-9e6d-125e1b704bf8" providerId="ADAL" clId="{2F42D7B1-B962-445E-8485-41980C3AF6B0}" dt="2023-03-01T14:18:53.984" v="9050" actId="790"/>
            <ac:spMkLst>
              <pc:docMk/>
              <pc:sldMasterMk cId="3193854635" sldId="2147483724"/>
              <pc:sldLayoutMk cId="2582131991" sldId="2147483740"/>
              <ac:spMk id="16" creationId="{0E903174-228A-48D5-BA67-1EB0CAE8BDA4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90" v="9053" actId="790"/>
          <pc:sldLayoutMkLst>
            <pc:docMk/>
            <pc:sldMasterMk cId="3193854635" sldId="2147483724"/>
            <pc:sldLayoutMk cId="3105690930" sldId="2147483741"/>
          </pc:sldLayoutMkLst>
          <pc:spChg chg="mod">
            <ac:chgData name="Doerfler, Lena" userId="aeb0559f-200d-4a58-9e6d-125e1b704bf8" providerId="ADAL" clId="{2F42D7B1-B962-445E-8485-41980C3AF6B0}" dt="2023-03-01T14:18:53.990" v="9053" actId="790"/>
            <ac:spMkLst>
              <pc:docMk/>
              <pc:sldMasterMk cId="3193854635" sldId="2147483724"/>
              <pc:sldLayoutMk cId="3105690930" sldId="2147483741"/>
              <ac:spMk id="24" creationId="{83D96F44-6146-4F95-A800-8EF5BCA7B07D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3.996" v="9056" actId="790"/>
          <pc:sldLayoutMkLst>
            <pc:docMk/>
            <pc:sldMasterMk cId="3193854635" sldId="2147483724"/>
            <pc:sldLayoutMk cId="2897356860" sldId="2147483742"/>
          </pc:sldLayoutMkLst>
          <pc:spChg chg="mod">
            <ac:chgData name="Doerfler, Lena" userId="aeb0559f-200d-4a58-9e6d-125e1b704bf8" providerId="ADAL" clId="{2F42D7B1-B962-445E-8485-41980C3AF6B0}" dt="2023-03-01T14:18:53.996" v="9056" actId="790"/>
            <ac:spMkLst>
              <pc:docMk/>
              <pc:sldMasterMk cId="3193854635" sldId="2147483724"/>
              <pc:sldLayoutMk cId="2897356860" sldId="2147483742"/>
              <ac:spMk id="30" creationId="{C0CE7711-FF4D-497C-9C41-C566C9E2F328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01" v="9059" actId="790"/>
          <pc:sldLayoutMkLst>
            <pc:docMk/>
            <pc:sldMasterMk cId="3193854635" sldId="2147483724"/>
            <pc:sldLayoutMk cId="3287970485" sldId="2147483743"/>
          </pc:sldLayoutMkLst>
          <pc:spChg chg="mod">
            <ac:chgData name="Doerfler, Lena" userId="aeb0559f-200d-4a58-9e6d-125e1b704bf8" providerId="ADAL" clId="{2F42D7B1-B962-445E-8485-41980C3AF6B0}" dt="2023-03-01T14:18:54.001" v="9059" actId="790"/>
            <ac:spMkLst>
              <pc:docMk/>
              <pc:sldMasterMk cId="3193854635" sldId="2147483724"/>
              <pc:sldLayoutMk cId="3287970485" sldId="2147483743"/>
              <ac:spMk id="11" creationId="{26B7E0A8-0331-4C6B-93D9-01894FF354A5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07" v="9062" actId="790"/>
          <pc:sldLayoutMkLst>
            <pc:docMk/>
            <pc:sldMasterMk cId="3193854635" sldId="2147483724"/>
            <pc:sldLayoutMk cId="1312719757" sldId="2147483746"/>
          </pc:sldLayoutMkLst>
          <pc:spChg chg="mod">
            <ac:chgData name="Doerfler, Lena" userId="aeb0559f-200d-4a58-9e6d-125e1b704bf8" providerId="ADAL" clId="{2F42D7B1-B962-445E-8485-41980C3AF6B0}" dt="2023-03-01T14:18:54.007" v="9062" actId="790"/>
            <ac:spMkLst>
              <pc:docMk/>
              <pc:sldMasterMk cId="3193854635" sldId="2147483724"/>
              <pc:sldLayoutMk cId="1312719757" sldId="2147483746"/>
              <ac:spMk id="20" creationId="{BDB00D74-2A43-4F79-930A-66504728E18D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13" v="9065" actId="790"/>
          <pc:sldLayoutMkLst>
            <pc:docMk/>
            <pc:sldMasterMk cId="3193854635" sldId="2147483724"/>
            <pc:sldLayoutMk cId="986066661" sldId="2147483747"/>
          </pc:sldLayoutMkLst>
          <pc:spChg chg="mod">
            <ac:chgData name="Doerfler, Lena" userId="aeb0559f-200d-4a58-9e6d-125e1b704bf8" providerId="ADAL" clId="{2F42D7B1-B962-445E-8485-41980C3AF6B0}" dt="2023-03-01T14:18:54.013" v="9065" actId="790"/>
            <ac:spMkLst>
              <pc:docMk/>
              <pc:sldMasterMk cId="3193854635" sldId="2147483724"/>
              <pc:sldLayoutMk cId="986066661" sldId="2147483747"/>
              <ac:spMk id="28" creationId="{D6AD6385-5541-41ED-B5E3-EA2E6D84A5FA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19" v="9068" actId="790"/>
          <pc:sldLayoutMkLst>
            <pc:docMk/>
            <pc:sldMasterMk cId="3193854635" sldId="2147483724"/>
            <pc:sldLayoutMk cId="1477509452" sldId="2147483748"/>
          </pc:sldLayoutMkLst>
          <pc:spChg chg="mod">
            <ac:chgData name="Doerfler, Lena" userId="aeb0559f-200d-4a58-9e6d-125e1b704bf8" providerId="ADAL" clId="{2F42D7B1-B962-445E-8485-41980C3AF6B0}" dt="2023-03-01T14:18:54.019" v="9068" actId="790"/>
            <ac:spMkLst>
              <pc:docMk/>
              <pc:sldMasterMk cId="3193854635" sldId="2147483724"/>
              <pc:sldLayoutMk cId="1477509452" sldId="2147483748"/>
              <ac:spMk id="33" creationId="{398E2729-16E7-462C-A3B8-1BB6CA79AAD0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25" v="9071" actId="790"/>
          <pc:sldLayoutMkLst>
            <pc:docMk/>
            <pc:sldMasterMk cId="3193854635" sldId="2147483724"/>
            <pc:sldLayoutMk cId="3023617731" sldId="2147483750"/>
          </pc:sldLayoutMkLst>
          <pc:spChg chg="mod">
            <ac:chgData name="Doerfler, Lena" userId="aeb0559f-200d-4a58-9e6d-125e1b704bf8" providerId="ADAL" clId="{2F42D7B1-B962-445E-8485-41980C3AF6B0}" dt="2023-03-01T14:18:54.025" v="9071" actId="790"/>
            <ac:spMkLst>
              <pc:docMk/>
              <pc:sldMasterMk cId="3193854635" sldId="2147483724"/>
              <pc:sldLayoutMk cId="3023617731" sldId="2147483750"/>
              <ac:spMk id="22" creationId="{5192275F-0C0C-43FC-AACC-33731E9ADD4B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31" v="9074" actId="790"/>
          <pc:sldLayoutMkLst>
            <pc:docMk/>
            <pc:sldMasterMk cId="3193854635" sldId="2147483724"/>
            <pc:sldLayoutMk cId="3790532867" sldId="2147483751"/>
          </pc:sldLayoutMkLst>
          <pc:spChg chg="mod">
            <ac:chgData name="Doerfler, Lena" userId="aeb0559f-200d-4a58-9e6d-125e1b704bf8" providerId="ADAL" clId="{2F42D7B1-B962-445E-8485-41980C3AF6B0}" dt="2023-03-01T14:18:54.031" v="9074" actId="790"/>
            <ac:spMkLst>
              <pc:docMk/>
              <pc:sldMasterMk cId="3193854635" sldId="2147483724"/>
              <pc:sldLayoutMk cId="3790532867" sldId="2147483751"/>
              <ac:spMk id="22" creationId="{3DED4E95-6200-414D-9A6B-9D5105D90E8A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37" v="9077" actId="790"/>
          <pc:sldLayoutMkLst>
            <pc:docMk/>
            <pc:sldMasterMk cId="3193854635" sldId="2147483724"/>
            <pc:sldLayoutMk cId="2242174071" sldId="2147483752"/>
          </pc:sldLayoutMkLst>
          <pc:spChg chg="mod">
            <ac:chgData name="Doerfler, Lena" userId="aeb0559f-200d-4a58-9e6d-125e1b704bf8" providerId="ADAL" clId="{2F42D7B1-B962-445E-8485-41980C3AF6B0}" dt="2023-03-01T14:18:54.037" v="9077" actId="790"/>
            <ac:spMkLst>
              <pc:docMk/>
              <pc:sldMasterMk cId="3193854635" sldId="2147483724"/>
              <pc:sldLayoutMk cId="2242174071" sldId="2147483752"/>
              <ac:spMk id="35" creationId="{642FDABF-E85F-4B0F-BCA6-43353C8DD374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42" v="9080" actId="790"/>
          <pc:sldLayoutMkLst>
            <pc:docMk/>
            <pc:sldMasterMk cId="3193854635" sldId="2147483724"/>
            <pc:sldLayoutMk cId="3151295193" sldId="2147483753"/>
          </pc:sldLayoutMkLst>
          <pc:spChg chg="mod">
            <ac:chgData name="Doerfler, Lena" userId="aeb0559f-200d-4a58-9e6d-125e1b704bf8" providerId="ADAL" clId="{2F42D7B1-B962-445E-8485-41980C3AF6B0}" dt="2023-03-01T14:18:54.042" v="9080" actId="790"/>
            <ac:spMkLst>
              <pc:docMk/>
              <pc:sldMasterMk cId="3193854635" sldId="2147483724"/>
              <pc:sldLayoutMk cId="3151295193" sldId="2147483753"/>
              <ac:spMk id="33" creationId="{46086EC7-AF14-48F4-8E03-CA6129710CA0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48" v="9083" actId="790"/>
          <pc:sldLayoutMkLst>
            <pc:docMk/>
            <pc:sldMasterMk cId="3193854635" sldId="2147483724"/>
            <pc:sldLayoutMk cId="101447522" sldId="2147483754"/>
          </pc:sldLayoutMkLst>
          <pc:spChg chg="mod">
            <ac:chgData name="Doerfler, Lena" userId="aeb0559f-200d-4a58-9e6d-125e1b704bf8" providerId="ADAL" clId="{2F42D7B1-B962-445E-8485-41980C3AF6B0}" dt="2023-03-01T14:18:54.048" v="9083" actId="790"/>
            <ac:spMkLst>
              <pc:docMk/>
              <pc:sldMasterMk cId="3193854635" sldId="2147483724"/>
              <pc:sldLayoutMk cId="101447522" sldId="2147483754"/>
              <ac:spMk id="5" creationId="{59038479-5C93-41EA-B0E7-C419ED89BB02}"/>
            </ac:spMkLst>
          </pc:spChg>
        </pc:sldLayoutChg>
        <pc:sldLayoutChg chg="modSp mod">
          <pc:chgData name="Doerfler, Lena" userId="aeb0559f-200d-4a58-9e6d-125e1b704bf8" providerId="ADAL" clId="{2F42D7B1-B962-445E-8485-41980C3AF6B0}" dt="2023-03-01T14:18:54.052" v="9086" actId="790"/>
          <pc:sldLayoutMkLst>
            <pc:docMk/>
            <pc:sldMasterMk cId="3193854635" sldId="2147483724"/>
            <pc:sldLayoutMk cId="3203488792" sldId="2147483755"/>
          </pc:sldLayoutMkLst>
          <pc:spChg chg="mod">
            <ac:chgData name="Doerfler, Lena" userId="aeb0559f-200d-4a58-9e6d-125e1b704bf8" providerId="ADAL" clId="{2F42D7B1-B962-445E-8485-41980C3AF6B0}" dt="2023-03-01T14:18:54.052" v="9086" actId="790"/>
            <ac:spMkLst>
              <pc:docMk/>
              <pc:sldMasterMk cId="3193854635" sldId="2147483724"/>
              <pc:sldLayoutMk cId="3203488792" sldId="2147483755"/>
              <ac:spMk id="5" creationId="{59038479-5C93-41EA-B0E7-C419ED89BB02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Nr.›</a:t>
            </a:fld>
            <a:endParaRPr lang="de-DE"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 dirty="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/>
              <a:pPr algn="r"/>
              <a:t>‹Nr.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 dirty="0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/>
              <a:pPr algn="r"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9948524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GV + Ladestation ca. 60T€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5872494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stallation – Scannen</a:t>
            </a:r>
          </a:p>
          <a:p>
            <a:r>
              <a:rPr lang="de-DE" dirty="0"/>
              <a:t>Zonen für unterschiedliche Kriteri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2660670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ronman ca. 90T€ + </a:t>
            </a:r>
            <a:r>
              <a:rPr lang="de-DE" dirty="0" err="1"/>
              <a:t>PnD</a:t>
            </a:r>
            <a:r>
              <a:rPr lang="de-DE"/>
              <a:t> Stand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2652801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705420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/>
              <a:pPr algn="r"/>
              <a:t>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0717173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Andreas Weichert | Stanzwerkzeuge Gerlingen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190824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135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848692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212080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5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2182194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840065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783134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9848733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aktor Mensch: Arbeitsplatzgestaltung, Motivation der M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081706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hyperlink" Target="http://www.trumpf.com/" TargetMode="Externa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3.emf"/><Relationship Id="rId4" Type="http://schemas.openxmlformats.org/officeDocument/2006/relationships/hyperlink" Target="http://www.trumpf.com/" TargetMode="Externa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hyperlink" Target="http://www.trumpf.com/" TargetMode="External"/><Relationship Id="rId5" Type="http://schemas.openxmlformats.org/officeDocument/2006/relationships/image" Target="../media/image8.jpe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3F181C8-B255-4F7E-9059-497902FF962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172201 h 6858000"/>
              <a:gd name="connsiteX5" fmla="*/ 5400000 w 12192000"/>
              <a:gd name="connsiteY5" fmla="*/ 6172201 h 6858000"/>
              <a:gd name="connsiteX6" fmla="*/ 5400000 w 12192000"/>
              <a:gd name="connsiteY6" fmla="*/ 3076575 h 6858000"/>
              <a:gd name="connsiteX7" fmla="*/ 0 w 12192000"/>
              <a:gd name="connsiteY7" fmla="*/ 3076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172201"/>
                </a:lnTo>
                <a:lnTo>
                  <a:pt x="5400000" y="6172201"/>
                </a:lnTo>
                <a:lnTo>
                  <a:pt x="5400000" y="3076575"/>
                </a:lnTo>
                <a:lnTo>
                  <a:pt x="0" y="3076575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80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51131"/>
            <a:ext cx="178482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4297496"/>
            <a:ext cx="4776788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416548" y="5619956"/>
            <a:ext cx="4721984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793118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Lena Dörfler | TW Production Punchingtools</a:t>
            </a:r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503237" y="3168636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8BFEC520-D42B-47D8-AB4B-C9FAE3D8AE56}"/>
              </a:ext>
            </a:extLst>
          </p:cNvPr>
          <p:cNvSpPr/>
          <p:nvPr userDrawn="1"/>
        </p:nvSpPr>
        <p:spPr>
          <a:xfrm>
            <a:off x="11143231" y="5812561"/>
            <a:ext cx="803277" cy="793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E4AFDA7-75EF-4613-A184-815FC9F1A475}"/>
              </a:ext>
            </a:extLst>
          </p:cNvPr>
          <p:cNvSpPr/>
          <p:nvPr userDrawn="1"/>
        </p:nvSpPr>
        <p:spPr>
          <a:xfrm>
            <a:off x="11143231" y="5812561"/>
            <a:ext cx="803277" cy="793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79766774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DC1379C-8CED-41CA-8430-72D9E90D7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B797276-7B97-44E6-80A7-8A978EF26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13" name="Datumsplatzhalter 8">
            <a:extLst>
              <a:ext uri="{FF2B5EF4-FFF2-40B4-BE49-F238E27FC236}">
                <a16:creationId xmlns:a16="http://schemas.microsoft.com/office/drawing/2014/main" id="{5892E75D-6086-44ED-A3F2-C52076A2B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34E6CFB4-A817-4B96-A693-D748AF2E453B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392421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95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3864067-953C-644E-BB2F-9707B5D6D5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3999" y="333375"/>
            <a:ext cx="5664200" cy="43589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85915" y="1378228"/>
            <a:ext cx="5681809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085915" y="3482616"/>
            <a:ext cx="5682300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6683" y="1865390"/>
            <a:ext cx="5664935" cy="1411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03523" y="4016118"/>
            <a:ext cx="5664935" cy="1762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65E52781-09D3-4E47-B6B4-5A34F69E0F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992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0" name="Fußzeilenplatzhalter 3">
            <a:extLst>
              <a:ext uri="{FF2B5EF4-FFF2-40B4-BE49-F238E27FC236}">
                <a16:creationId xmlns:a16="http://schemas.microsoft.com/office/drawing/2014/main" id="{8441FF80-2419-4C84-8F6C-13192E1A6C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99216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21" name="Datumsplatzhalter 8">
            <a:extLst>
              <a:ext uri="{FF2B5EF4-FFF2-40B4-BE49-F238E27FC236}">
                <a16:creationId xmlns:a16="http://schemas.microsoft.com/office/drawing/2014/main" id="{47E42470-D049-41AB-8A43-A2E0B46A97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4023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4CE095-0AB2-4A90-B6A2-E550C954B2C1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FF5278A0-69C0-404C-92B8-95954A87BD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85914" y="802853"/>
            <a:ext cx="5681809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79667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+ Textbaustein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62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582C89E3-815E-49D3-8AEC-F4E35FEF3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03938" y="63992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2A8504A7-0A5A-40BE-8AFC-C8FF12245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84661" y="6399216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9AB4B1FB-4818-4EBC-9655-8FF399088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90474" y="64023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E3CC5BD1-C32E-4CAE-97EA-1E666D4D746E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2B894C8-F58F-4291-897B-A55FFFD2F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3999" y="333375"/>
            <a:ext cx="5664200" cy="43589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C9528097-F9E0-4F66-A784-43A007977ED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85915" y="1378228"/>
            <a:ext cx="5681809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1C9B3D6C-6404-4900-903A-D116B2CACD2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085915" y="3482616"/>
            <a:ext cx="5682300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E98D08E-C20A-4EB1-AFF0-07BD6E5C53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6683" y="1865390"/>
            <a:ext cx="5664935" cy="1411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EAC1FED0-CDB1-43C3-83B1-687B508A23D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103523" y="4016118"/>
            <a:ext cx="5664935" cy="1762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7DE4A5B0-F04C-42A8-B34A-ECA66E93A3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85914" y="802853"/>
            <a:ext cx="5681809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914969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10F0F952-2419-4A15-AC77-813AAA7211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174"/>
            <a:ext cx="6096000" cy="6854821"/>
          </a:xfrm>
          <a:custGeom>
            <a:avLst/>
            <a:gdLst>
              <a:gd name="connsiteX0" fmla="*/ 5372099 w 6096000"/>
              <a:gd name="connsiteY0" fmla="*/ 6128205 h 6854821"/>
              <a:gd name="connsiteX1" fmla="*/ 5372099 w 6096000"/>
              <a:gd name="connsiteY1" fmla="*/ 6660697 h 6854821"/>
              <a:gd name="connsiteX2" fmla="*/ 5904591 w 6096000"/>
              <a:gd name="connsiteY2" fmla="*/ 6660697 h 6854821"/>
              <a:gd name="connsiteX3" fmla="*/ 5904591 w 6096000"/>
              <a:gd name="connsiteY3" fmla="*/ 6128205 h 6854821"/>
              <a:gd name="connsiteX4" fmla="*/ 0 w 6096000"/>
              <a:gd name="connsiteY4" fmla="*/ 0 h 6854821"/>
              <a:gd name="connsiteX5" fmla="*/ 6096000 w 6096000"/>
              <a:gd name="connsiteY5" fmla="*/ 0 h 6854821"/>
              <a:gd name="connsiteX6" fmla="*/ 6096000 w 6096000"/>
              <a:gd name="connsiteY6" fmla="*/ 6854821 h 6854821"/>
              <a:gd name="connsiteX7" fmla="*/ 0 w 6096000"/>
              <a:gd name="connsiteY7" fmla="*/ 6854821 h 685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4821">
                <a:moveTo>
                  <a:pt x="5372099" y="6128205"/>
                </a:moveTo>
                <a:lnTo>
                  <a:pt x="5372099" y="6660697"/>
                </a:lnTo>
                <a:lnTo>
                  <a:pt x="5904591" y="6660697"/>
                </a:lnTo>
                <a:lnTo>
                  <a:pt x="5904591" y="6128205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4821"/>
                </a:lnTo>
                <a:lnTo>
                  <a:pt x="0" y="685482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514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28805" y="13384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28805" y="36609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B32E3D2-3756-DC48-AAD3-DC06050CE6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419597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0624" y="1934962"/>
            <a:ext cx="5148262" cy="1494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35816" y="4286249"/>
            <a:ext cx="5148262" cy="160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EF47FE27-85AE-4D2E-970A-B8617AC37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ED3A61B7-AF6D-4802-9BC2-D6C1E0F850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3996187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23" name="Datumsplatzhalter 8">
            <a:extLst>
              <a:ext uri="{FF2B5EF4-FFF2-40B4-BE49-F238E27FC236}">
                <a16:creationId xmlns:a16="http://schemas.microsoft.com/office/drawing/2014/main" id="{981CBBCE-2F50-4DAA-8EEF-BE13E3789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E56170DE-FB9A-44EB-8892-E1B1BBD1C9EF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8D5F6A4-0372-43CB-9E55-86B90FB200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3315" y="802853"/>
            <a:ext cx="5140886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80879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07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82BC249-56FB-4B16-99D0-ED022CE2D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BA60D1CF-87A2-4E5C-B614-BB50A6BB50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8DF9F61A-EB57-4769-AE60-5C6DB24E57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11FD4AAA-1622-4840-985F-BDB76BF74A97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5EC19740-1A73-46B1-A268-0244F3EED08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28805" y="13384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FC153D1-3495-4C04-8820-5C2E01F2301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28805" y="36609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F8F73D1-76AF-4234-BEF0-05B3CBCD565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419597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E28FED90-7092-4504-B28A-53E8B7D9CE9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0624" y="1934962"/>
            <a:ext cx="5148262" cy="1494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F2C79B53-C131-48B2-9587-5BB682111BB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35816" y="4286249"/>
            <a:ext cx="5148262" cy="160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3AA42055-C1CF-4A99-9A9F-4C05334359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3315" y="802853"/>
            <a:ext cx="5140886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28934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228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09698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809699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8158" y="333376"/>
            <a:ext cx="7901402" cy="461325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09698" y="205808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27462" y="429929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CF7466D-0F01-40F1-94E3-AF5BB86D8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90852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4EAA6B20-26A8-45CC-9C95-68B14A328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90853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2FF53B4A-334E-4924-BF1C-438DB6679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94028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244D7BA4-8D47-46CA-A97B-94B9C89BB2A0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A9134A3C-35B8-4F42-981D-9B36A1B9E6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950" y="831428"/>
            <a:ext cx="791861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834009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8224" y="3428999"/>
            <a:ext cx="3362151" cy="341947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888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827463" y="368990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950" y="333375"/>
            <a:ext cx="7918610" cy="49805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27462" y="205808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marL="0" marR="0" lvl="1" indent="17780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827463" y="4251671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marL="0" marR="0" lvl="1" indent="17780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01E1C9EC-540D-4357-872A-5F104DBD7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5D42A8F-4D51-4FA1-AE6D-2460CB2B6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0E903174-228A-48D5-BA67-1EB0CAE8BD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96E6909F-1627-416C-98C6-87291A9A64DD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3528DD15-ACA4-44FC-888A-5C7C12A371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950" y="831428"/>
            <a:ext cx="791861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21319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A865AB-1893-4A5F-8F75-A449F29E8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559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A865AB-1893-4A5F-8F75-A449F29E8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ED435E36-27B9-412A-B19D-8E5E92512496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1" name="Bildplatzhalter 31">
            <a:extLst>
              <a:ext uri="{FF2B5EF4-FFF2-40B4-BE49-F238E27FC236}">
                <a16:creationId xmlns:a16="http://schemas.microsoft.com/office/drawing/2014/main" id="{05BE5A14-57C4-E144-8C66-19278E73576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49049" y="6102804"/>
            <a:ext cx="532492" cy="532492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40234"/>
            <a:ext cx="7824478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B837A3-6F35-4DC0-B459-C97E280C6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BEC7606E-95C9-4069-B619-8218429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83D96F44-6146-4F95-A800-8EF5BCA7B0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B01A4FF5-511D-4360-9F93-D646E833F137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569093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362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85AD2043-5BC3-4CBD-9AD1-AAE34C5C0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5"/>
            <a:ext cx="7853362" cy="459866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53362" cy="31825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540" y="137838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14540" y="35946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4539" y="201998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2303" y="42421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8EBD6288-B15B-4572-9A5F-05C670A36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17BDAA63-A3E9-486A-A4D9-574AD5E81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C0CE7711-FF4D-497C-9C41-C566C9E2F3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0B1666FD-18AF-4891-A646-B5EC61F9CBDD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735686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651D45B-A5A1-E043-99A4-33380E7717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D84845E-9444-456A-8368-FC63E92DCCB5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79704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4537494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ild </a:t>
            </a:r>
            <a:r>
              <a:rPr lang="en-US" dirty="0" err="1"/>
              <a:t>hinzufügen</a:t>
            </a:r>
            <a:r>
              <a:rPr lang="en-US" dirty="0"/>
              <a:t> I Add image by clicking icon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9668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817980"/>
            <a:ext cx="1780012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5064345"/>
            <a:ext cx="10571163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6391757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Lena Dörfler | TW Production Punchingtools</a:t>
            </a:r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8227241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6C37A555-E368-724C-9923-DD5CC5C504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621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7D952D44-ED50-794D-BA2A-1888F1C497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69601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834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507E39A9-8B88-1745-921E-23DF5485C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722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B2BA28F4-4398-0D4D-970A-0C25A0C837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CF9BDA35-FD9E-47B7-BEB2-635D2C9D6D42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2719757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733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FBD7425-3D57-704A-8AD3-0D8C20BDB4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3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27814AD-6500-40EB-B3DE-8CA2CE42B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825D8F5F-EEDA-4F89-8CE6-BF5848A8BC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28" name="Datumsplatzhalter 8">
            <a:extLst>
              <a:ext uri="{FF2B5EF4-FFF2-40B4-BE49-F238E27FC236}">
                <a16:creationId xmlns:a16="http://schemas.microsoft.com/office/drawing/2014/main" id="{D6AD6385-5541-41ED-B5E3-EA2E6D84A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2C1C812-0520-4074-B7EA-18189DB3E85D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6066661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45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FBD7425-3D57-704A-8AD3-0D8C20BDB4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006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06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06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020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84425E20-1008-4297-AB93-69A00E1192D4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7509452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7130592-A4C7-4D99-BE68-EA60CD194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52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7130592-A4C7-4D99-BE68-EA60CD194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78164E5D-7AF6-3348-ACB4-4F8B4EAA5286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>
                <a:latin typeface="+mj-lt"/>
                <a:cs typeface="Segoe UI" panose="020B0502040204020203" pitchFamily="34" charset="0"/>
              </a:rPr>
              <a:t>Master </a:t>
            </a:r>
            <a:r>
              <a:rPr lang="de-DE" sz="1200" dirty="0" err="1">
                <a:latin typeface="+mj-lt"/>
                <a:cs typeface="Segoe UI" panose="020B0502040204020203" pitchFamily="34" charset="0"/>
              </a:rPr>
              <a:t>text</a:t>
            </a:r>
            <a:r>
              <a:rPr lang="de-DE" sz="1200" dirty="0">
                <a:latin typeface="+mj-lt"/>
                <a:cs typeface="Segoe UI" panose="020B0502040204020203" pitchFamily="34" charset="0"/>
              </a:rPr>
              <a:t> </a:t>
            </a:r>
            <a:r>
              <a:rPr lang="de-DE" sz="1200" dirty="0" err="1">
                <a:latin typeface="+mj-lt"/>
                <a:cs typeface="Segoe UI" panose="020B0502040204020203" pitchFamily="34" charset="0"/>
              </a:rPr>
              <a:t>format</a:t>
            </a:r>
            <a:endParaRPr lang="de-DE" sz="12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35509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AC6B211D-DE63-450A-B229-340AEB5E55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73617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2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94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72895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9931CBE2-2FE1-491E-AC84-D55CA5922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B4715C78-1E85-4FBB-AC77-34FAE2F9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5192275F-0C0C-43FC-AACC-33731E9AD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FECB2365-BC03-4C08-AC29-BFCD4D54F1DC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617731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80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4001CFA-64D6-4CC9-AC49-ECFEF1B10078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0532867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369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3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F5E784F-3403-4CAC-A2A6-343787CBE2BE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FC8822-77D7-4922-9FBA-0D56B6286800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9543399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2174071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CD3FE672-C36D-4759-8ADD-079756E82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752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CD3FE672-C36D-4759-8ADD-079756E82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8">
            <a:extLst>
              <a:ext uri="{FF2B5EF4-FFF2-40B4-BE49-F238E27FC236}">
                <a16:creationId xmlns:a16="http://schemas.microsoft.com/office/drawing/2014/main" id="{D456E720-0D41-465C-B9F3-3BEA8BC60A69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1673301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12" name="Oval 19">
            <a:extLst>
              <a:ext uri="{FF2B5EF4-FFF2-40B4-BE49-F238E27FC236}">
                <a16:creationId xmlns:a16="http://schemas.microsoft.com/office/drawing/2014/main" id="{02F84A11-C680-4559-92C9-C4DADC7443B6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2651104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D1BE7CC5-C842-427F-A3DF-0DD439A72A72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3628907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14" name="Oval 21">
            <a:extLst>
              <a:ext uri="{FF2B5EF4-FFF2-40B4-BE49-F238E27FC236}">
                <a16:creationId xmlns:a16="http://schemas.microsoft.com/office/drawing/2014/main" id="{516832BC-5EEF-4FA6-B62E-80067A4D3B34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4606709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250CB09-D9AB-4DB2-9A31-BC55938C0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32549" y="1869851"/>
            <a:ext cx="10148887" cy="603927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3C6D208-16FF-F847-9C15-66E39DB973CF}"/>
              </a:ext>
            </a:extLst>
          </p:cNvPr>
          <p:cNvCxnSpPr>
            <a:cxnSpLocks/>
          </p:cNvCxnSpPr>
          <p:nvPr userDrawn="1"/>
        </p:nvCxnSpPr>
        <p:spPr>
          <a:xfrm>
            <a:off x="515938" y="24775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0A94B920-4C7D-F04F-8ED4-B99A92E9B63D}"/>
              </a:ext>
            </a:extLst>
          </p:cNvPr>
          <p:cNvCxnSpPr>
            <a:cxnSpLocks/>
          </p:cNvCxnSpPr>
          <p:nvPr userDrawn="1"/>
        </p:nvCxnSpPr>
        <p:spPr>
          <a:xfrm>
            <a:off x="515938" y="34681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225FC18E-B6D3-2A4A-B3BD-9ED73A401E01}"/>
              </a:ext>
            </a:extLst>
          </p:cNvPr>
          <p:cNvCxnSpPr>
            <a:cxnSpLocks/>
          </p:cNvCxnSpPr>
          <p:nvPr userDrawn="1"/>
        </p:nvCxnSpPr>
        <p:spPr>
          <a:xfrm>
            <a:off x="515938" y="44587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47A8053B-CEA0-2241-95F2-96A0D338FD1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32549" y="2850926"/>
            <a:ext cx="10148887" cy="627060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90B10DA-B978-BB43-BFBA-3F0D30174C1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32549" y="3832002"/>
            <a:ext cx="10148887" cy="633862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18">
            <a:extLst>
              <a:ext uri="{FF2B5EF4-FFF2-40B4-BE49-F238E27FC236}">
                <a16:creationId xmlns:a16="http://schemas.microsoft.com/office/drawing/2014/main" id="{5FA39501-E190-1440-B4D9-DA8B5D17C5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32549" y="4813077"/>
            <a:ext cx="10148887" cy="714144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D9B738F-77E8-E840-A281-42E14F72E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1379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A776F20-1502-9C4D-A2A8-38718A92D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AC73BABB-4B95-4888-B24A-C5174F67C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2" name="Fußzeilenplatzhalter 3">
            <a:extLst>
              <a:ext uri="{FF2B5EF4-FFF2-40B4-BE49-F238E27FC236}">
                <a16:creationId xmlns:a16="http://schemas.microsoft.com/office/drawing/2014/main" id="{0A234621-2F78-4F92-9D2A-8657AB0F37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46086EC7-AF14-48F4-8E03-CA6129710C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D650A0A8-76E5-450D-BE05-518FAEBE4D99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1295193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4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pPr lvl="0" algn="ctr"/>
            <a:endParaRPr lang="en-US" dirty="0"/>
          </a:p>
          <a:p>
            <a:pPr lvl="0" algn="ctr"/>
            <a:endParaRPr lang="en-US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340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02173"/>
            <a:ext cx="19351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Lena Dörfler | TW Production Punchingtools</a:t>
            </a:r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604484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0C922-A1B3-4C47-A906-671B4FACC738}" type="datetime1">
              <a:rPr lang="de-DE" smtClean="0"/>
              <a:pPr/>
              <a:t>19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E-Mailadresse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9951D1C-41C1-4A14-B909-58F37F9420E8}"/>
              </a:ext>
            </a:extLst>
          </p:cNvPr>
          <p:cNvGrpSpPr/>
          <p:nvPr userDrawn="1"/>
        </p:nvGrpSpPr>
        <p:grpSpPr>
          <a:xfrm>
            <a:off x="496888" y="3304977"/>
            <a:ext cx="625992" cy="600256"/>
            <a:chOff x="11143231" y="5812561"/>
            <a:chExt cx="793338" cy="793338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B5961B7A-C513-464D-B932-3CA2450ACF6B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F01AA708-F368-4EB0-ADF2-8C63243BF6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47522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DE356A-851D-4C0E-B7B4-8D7CBB0AE8C4}" type="datetime1">
              <a:rPr lang="de-DE" smtClean="0"/>
              <a:pPr/>
              <a:t>19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2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hone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E-mail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621EF4D-0771-4F49-AB73-A397AB93F78A}"/>
              </a:ext>
            </a:extLst>
          </p:cNvPr>
          <p:cNvGrpSpPr/>
          <p:nvPr userDrawn="1"/>
        </p:nvGrpSpPr>
        <p:grpSpPr>
          <a:xfrm>
            <a:off x="496888" y="3304977"/>
            <a:ext cx="625992" cy="600256"/>
            <a:chOff x="11143231" y="5812561"/>
            <a:chExt cx="793338" cy="79333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42A3D89-BD99-4048-8459-10A5D65A6094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F379F57-479A-41E5-BDAD-7B82B8252D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3488792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_TRUMPF_blauer_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5AB8D3-879C-4A4F-950C-90B94A02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266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5AB8D3-879C-4A4F-950C-90B94A02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5F6AC04-030C-4BCC-A3A7-AF1039A13B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1DEA8D2-FDD7-4795-B21E-9915A184E9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F99E2F4-A647-42B3-A69E-350292FFE0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381979"/>
            <a:ext cx="4619412" cy="267338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06370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3650039"/>
            <a:ext cx="3611394" cy="657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6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893095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088167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283239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478311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-Mailadresse</a:t>
            </a:r>
          </a:p>
        </p:txBody>
      </p:sp>
    </p:spTree>
    <p:extLst>
      <p:ext uri="{BB962C8B-B14F-4D97-AF65-F5344CB8AC3E}">
        <p14:creationId xmlns:p14="http://schemas.microsoft.com/office/powerpoint/2010/main" val="1992979471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2061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sz="1400" b="0" dirty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pPr lvl="0"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id="{6917DA5D-DFE8-7C4C-8AB4-CAC5CA368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4" y="1499263"/>
            <a:ext cx="178482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E4B09D7-D09D-1144-A835-68CC3D5E8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1745628"/>
            <a:ext cx="4782951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6D46DD6D-39B6-7346-8FB3-30800BFB33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4" y="3241250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Lena Dörfler | TW Production Punchingtool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182276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907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Mastertextformat bearbeiten I 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2C05DFC8-9958-4CF2-A9B5-7C6CD3015D54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CA9C2964-0719-47E8-B997-EB6B1C4FE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57353778-6374-4EA7-B04D-325A62A573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048874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09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>
            <a:extLst>
              <a:ext uri="{FF2B5EF4-FFF2-40B4-BE49-F238E27FC236}">
                <a16:creationId xmlns:a16="http://schemas.microsoft.com/office/drawing/2014/main" id="{B82A4D46-B04A-A54F-A04D-B0F85C6D0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844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8666011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24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1BC94AA7-4A3A-40C1-8B74-96EBF6569AE1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6097881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 - Voxe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685BFB-D671-4679-B5D3-8FD43F8B2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298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D685BFB-D671-4679-B5D3-8FD43F8B2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4B6B9AD3-3F00-7D4E-B5FC-C5719D0DD80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996952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CAB67B07-7D49-6C44-A17D-F74342B5E325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144197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AC010830-86B9-C64C-B1BC-C9FB62472E5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3839433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C848782-2386-A041-9A46-07911EBFE5AC}"/>
              </a:ext>
            </a:extLst>
          </p:cNvPr>
          <p:cNvCxnSpPr>
            <a:cxnSpLocks/>
          </p:cNvCxnSpPr>
          <p:nvPr userDrawn="1"/>
        </p:nvCxnSpPr>
        <p:spPr>
          <a:xfrm>
            <a:off x="1105471" y="4681914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8A25F60-4875-8645-9A90-72BA1FBE9B78}"/>
              </a:ext>
            </a:extLst>
          </p:cNvPr>
          <p:cNvCxnSpPr>
            <a:cxnSpLocks/>
          </p:cNvCxnSpPr>
          <p:nvPr userDrawn="1"/>
        </p:nvCxnSpPr>
        <p:spPr>
          <a:xfrm>
            <a:off x="1105471" y="5524395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itel 1">
            <a:extLst>
              <a:ext uri="{FF2B5EF4-FFF2-40B4-BE49-F238E27FC236}">
                <a16:creationId xmlns:a16="http://schemas.microsoft.com/office/drawing/2014/main" id="{18521BE8-5909-1341-83B4-0E41D352A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537" y="301625"/>
            <a:ext cx="10696750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BD77588C-69B2-C641-B092-19A59DCE8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434AE1E-29E2-5449-B088-AD3C8F02F63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054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2629D5EB-E950-7E4D-9619-A2528E5D57C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1054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80CA97F6-28AB-6948-B250-0DF39A5564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1054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3C075969-5560-8F46-A28E-3E50D8BA489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1054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D8E69C90-061D-B34A-B3D1-27875EF910D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1054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7FA608A6-6269-AB45-A0B6-11A8BB5290C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951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F6AB0AC-AE16-9D4D-BBB6-06F3D5F02E4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951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6EE836E5-E80F-9748-9397-905CF65A4B2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951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A66093A6-6BF6-214C-9306-E65A166AD68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951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14BDD226-D431-6844-922C-D686D5852AD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1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7C98DAB-F31D-B54E-BC3E-72C09025DF9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951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0788E740-D689-461B-AB02-1F21EF38D72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0538" y="869528"/>
            <a:ext cx="10696751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44FA6EF9-1E39-4805-993E-741144B3A1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E7D1CE9B-9F3B-45F1-A4A5-E9E96C9D4F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E5EFCC90-CE63-48AF-A0FF-289C0EAB44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7FD8ACBC-E907-42C5-AD60-3A41D828E558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040669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einspaltig - Voxe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685BFB-D671-4679-B5D3-8FD43F8B2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14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D685BFB-D671-4679-B5D3-8FD43F8B2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D1D721CD-D314-4FC2-92E6-00D32E4C2B6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bg1"/>
              </a:solidFill>
            </a:endParaRP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4B6B9AD3-3F00-7D4E-B5FC-C5719D0DD80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996952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CAB67B07-7D49-6C44-A17D-F74342B5E325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144197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AC010830-86B9-C64C-B1BC-C9FB62472E5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3839433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C848782-2386-A041-9A46-07911EBFE5AC}"/>
              </a:ext>
            </a:extLst>
          </p:cNvPr>
          <p:cNvCxnSpPr>
            <a:cxnSpLocks/>
          </p:cNvCxnSpPr>
          <p:nvPr userDrawn="1"/>
        </p:nvCxnSpPr>
        <p:spPr>
          <a:xfrm>
            <a:off x="1105471" y="4681914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8A25F60-4875-8645-9A90-72BA1FBE9B78}"/>
              </a:ext>
            </a:extLst>
          </p:cNvPr>
          <p:cNvCxnSpPr>
            <a:cxnSpLocks/>
          </p:cNvCxnSpPr>
          <p:nvPr userDrawn="1"/>
        </p:nvCxnSpPr>
        <p:spPr>
          <a:xfrm>
            <a:off x="1105471" y="5524395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itel 1">
            <a:extLst>
              <a:ext uri="{FF2B5EF4-FFF2-40B4-BE49-F238E27FC236}">
                <a16:creationId xmlns:a16="http://schemas.microsoft.com/office/drawing/2014/main" id="{18521BE8-5909-1341-83B4-0E41D352A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537" y="301625"/>
            <a:ext cx="10696750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BD77588C-69B2-C641-B092-19A59DCE8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434AE1E-29E2-5449-B088-AD3C8F02F63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054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2629D5EB-E950-7E4D-9619-A2528E5D57C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1054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80CA97F6-28AB-6948-B250-0DF39A5564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1054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3C075969-5560-8F46-A28E-3E50D8BA489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1054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D8E69C90-061D-B34A-B3D1-27875EF910D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1054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7FA608A6-6269-AB45-A0B6-11A8BB5290C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951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F6AB0AC-AE16-9D4D-BBB6-06F3D5F02E4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951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6EE836E5-E80F-9748-9397-905CF65A4B2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951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A66093A6-6BF6-214C-9306-E65A166AD68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951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14BDD226-D431-6844-922C-D686D5852AD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1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7C98DAB-F31D-B54E-BC3E-72C09025DF9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951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0788E740-D689-461B-AB02-1F21EF38D72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0538" y="869528"/>
            <a:ext cx="10696751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bg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C8CD4A-2062-4B66-820D-DCB121B96D77}"/>
              </a:ext>
            </a:extLst>
          </p:cNvPr>
          <p:cNvGrpSpPr/>
          <p:nvPr userDrawn="1"/>
        </p:nvGrpSpPr>
        <p:grpSpPr>
          <a:xfrm>
            <a:off x="11483199" y="6155690"/>
            <a:ext cx="491016" cy="491016"/>
            <a:chOff x="11143231" y="5812561"/>
            <a:chExt cx="793338" cy="793338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9B68A89-20A9-4C7B-AE8D-DF07162AF936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6C20FC07-8762-4FAF-B834-1F9942ED21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1743C64A-7DAA-4CB0-840E-8DC33B54AC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/>
              <a:pPr/>
              <a:t>‹Nr.›</a:t>
            </a:fld>
            <a:r>
              <a:rPr lang="de-DE"/>
              <a:t>  </a:t>
            </a:r>
            <a:r>
              <a:rPr lang="de-DE" b="0"/>
              <a:t>|</a:t>
            </a:r>
            <a:endParaRPr lang="de-DE" sz="900" b="0" dirty="0"/>
          </a:p>
        </p:txBody>
      </p:sp>
      <p:sp>
        <p:nvSpPr>
          <p:cNvPr id="32" name="Fußzeilenplatzhalter 3">
            <a:extLst>
              <a:ext uri="{FF2B5EF4-FFF2-40B4-BE49-F238E27FC236}">
                <a16:creationId xmlns:a16="http://schemas.microsoft.com/office/drawing/2014/main" id="{C7D39358-BF92-4B32-839F-D10898559C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8C3CA609-D3D2-4EDB-8902-9B5570BE9E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C4FF058E-36C9-4367-BE95-1A09D454076E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205568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139334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353" imgH="353" progId="TCLayout.ActiveDocument.1">
                  <p:embed/>
                </p:oleObj>
              </mc:Choice>
              <mc:Fallback>
                <p:oleObj name="think-cell Folie" r:id="rId36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0234"/>
            <a:ext cx="11160125" cy="6408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 I Edit </a:t>
            </a:r>
            <a:r>
              <a:rPr lang="de-DE" dirty="0" err="1"/>
              <a:t>master</a:t>
            </a:r>
            <a:r>
              <a:rPr lang="de-DE" dirty="0"/>
              <a:t> title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262849"/>
            <a:ext cx="11160125" cy="4722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echste Ebene</a:t>
            </a:r>
            <a:endParaRPr lang="de-DE" b="0" i="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91DCEFDC-103B-432F-B525-4DF80BA39268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/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239DDAB-314C-9C40-96CC-A765D274E23F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854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49" r:id="rId25"/>
    <p:sldLayoutId id="2147483750" r:id="rId26"/>
    <p:sldLayoutId id="2147483751" r:id="rId27"/>
    <p:sldLayoutId id="2147483752" r:id="rId28"/>
    <p:sldLayoutId id="2147483753" r:id="rId29"/>
    <p:sldLayoutId id="2147483754" r:id="rId30"/>
    <p:sldLayoutId id="2147483755" r:id="rId31"/>
    <p:sldLayoutId id="2147483756" r:id="rId32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4" pos="7537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3997">
          <p15:clr>
            <a:srgbClr val="F26B43"/>
          </p15:clr>
        </p15:guide>
        <p15:guide id="9" pos="7355">
          <p15:clr>
            <a:srgbClr val="F26B43"/>
          </p15:clr>
        </p15:guide>
        <p15:guide id="10" orient="horz" pos="618">
          <p15:clr>
            <a:srgbClr val="F26B43"/>
          </p15:clr>
        </p15:guide>
        <p15:guide id="12" orient="horz" pos="37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6" Type="http://schemas.openxmlformats.org/officeDocument/2006/relationships/image" Target="../media/image10.jp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1.xml"/><Relationship Id="rId5" Type="http://schemas.openxmlformats.org/officeDocument/2006/relationships/image" Target="../media/image55.png"/><Relationship Id="rId4" Type="http://schemas.openxmlformats.org/officeDocument/2006/relationships/image" Target="../media/image5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7.svg"/><Relationship Id="rId12" Type="http://schemas.openxmlformats.org/officeDocument/2006/relationships/image" Target="../media/image5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2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9.emf"/><Relationship Id="rId10" Type="http://schemas.openxmlformats.org/officeDocument/2006/relationships/image" Target="../media/image60.png"/><Relationship Id="rId4" Type="http://schemas.openxmlformats.org/officeDocument/2006/relationships/oleObject" Target="../embeddings/oleObject41.bin"/><Relationship Id="rId9" Type="http://schemas.openxmlformats.org/officeDocument/2006/relationships/image" Target="../media/image59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image" Target="../media/image6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4.xml"/><Relationship Id="rId5" Type="http://schemas.openxmlformats.org/officeDocument/2006/relationships/image" Target="../media/image63.png"/><Relationship Id="rId4" Type="http://schemas.openxmlformats.org/officeDocument/2006/relationships/image" Target="../media/image54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7.svg"/><Relationship Id="rId12" Type="http://schemas.openxmlformats.org/officeDocument/2006/relationships/image" Target="../media/image6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5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9.emf"/><Relationship Id="rId10" Type="http://schemas.openxmlformats.org/officeDocument/2006/relationships/image" Target="../media/image60.png"/><Relationship Id="rId4" Type="http://schemas.openxmlformats.org/officeDocument/2006/relationships/oleObject" Target="../embeddings/oleObject44.bin"/><Relationship Id="rId9" Type="http://schemas.openxmlformats.org/officeDocument/2006/relationships/image" Target="../media/image59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33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7.sv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6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9.emf"/><Relationship Id="rId1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59.svg"/><Relationship Id="rId14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67.xml"/><Relationship Id="rId4" Type="http://schemas.openxmlformats.org/officeDocument/2006/relationships/image" Target="../media/image9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g"/><Relationship Id="rId13" Type="http://schemas.openxmlformats.org/officeDocument/2006/relationships/image" Target="../media/image71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5.jpg"/><Relationship Id="rId12" Type="http://schemas.openxmlformats.org/officeDocument/2006/relationships/image" Target="../media/image70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.xml"/><Relationship Id="rId6" Type="http://schemas.openxmlformats.org/officeDocument/2006/relationships/image" Target="../media/image64.png"/><Relationship Id="rId11" Type="http://schemas.openxmlformats.org/officeDocument/2006/relationships/image" Target="../media/image69.jpg"/><Relationship Id="rId5" Type="http://schemas.openxmlformats.org/officeDocument/2006/relationships/image" Target="../media/image9.emf"/><Relationship Id="rId15" Type="http://schemas.openxmlformats.org/officeDocument/2006/relationships/image" Target="../media/image73.jpg"/><Relationship Id="rId10" Type="http://schemas.openxmlformats.org/officeDocument/2006/relationships/image" Target="../media/image68.jpg"/><Relationship Id="rId4" Type="http://schemas.openxmlformats.org/officeDocument/2006/relationships/oleObject" Target="../embeddings/oleObject47.bin"/><Relationship Id="rId9" Type="http://schemas.openxmlformats.org/officeDocument/2006/relationships/image" Target="../media/image67.jpg"/><Relationship Id="rId14" Type="http://schemas.openxmlformats.org/officeDocument/2006/relationships/image" Target="../media/image72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75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7.svg"/><Relationship Id="rId12" Type="http://schemas.openxmlformats.org/officeDocument/2006/relationships/image" Target="../media/image74.jpe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33.svg"/><Relationship Id="rId1" Type="http://schemas.openxmlformats.org/officeDocument/2006/relationships/tags" Target="../tags/tag69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9.emf"/><Relationship Id="rId15" Type="http://schemas.openxmlformats.org/officeDocument/2006/relationships/image" Target="../media/image32.png"/><Relationship Id="rId10" Type="http://schemas.openxmlformats.org/officeDocument/2006/relationships/image" Target="../media/image60.png"/><Relationship Id="rId4" Type="http://schemas.openxmlformats.org/officeDocument/2006/relationships/oleObject" Target="../embeddings/oleObject48.bin"/><Relationship Id="rId9" Type="http://schemas.openxmlformats.org/officeDocument/2006/relationships/image" Target="../media/image59.svg"/><Relationship Id="rId1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6.x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16.svg"/><Relationship Id="rId18" Type="http://schemas.openxmlformats.org/officeDocument/2006/relationships/image" Target="../media/image21.png"/><Relationship Id="rId3" Type="http://schemas.openxmlformats.org/officeDocument/2006/relationships/tags" Target="../tags/tag39.xml"/><Relationship Id="rId21" Type="http://schemas.openxmlformats.org/officeDocument/2006/relationships/image" Target="../media/image24.png"/><Relationship Id="rId7" Type="http://schemas.openxmlformats.org/officeDocument/2006/relationships/oleObject" Target="../embeddings/oleObject33.bin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tags" Target="../tags/tag38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tags" Target="../tags/tag37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4.svg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19" Type="http://schemas.openxmlformats.org/officeDocument/2006/relationships/image" Target="../media/image22.svg"/><Relationship Id="rId4" Type="http://schemas.openxmlformats.org/officeDocument/2006/relationships/tags" Target="../tags/tag40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20.svg"/><Relationship Id="rId3" Type="http://schemas.openxmlformats.org/officeDocument/2006/relationships/tags" Target="../tags/tag43.xml"/><Relationship Id="rId7" Type="http://schemas.openxmlformats.org/officeDocument/2006/relationships/oleObject" Target="../embeddings/oleObject34.bin"/><Relationship Id="rId12" Type="http://schemas.openxmlformats.org/officeDocument/2006/relationships/image" Target="../media/image19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28.svg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30.png"/><Relationship Id="rId10" Type="http://schemas.openxmlformats.org/officeDocument/2006/relationships/image" Target="../media/image27.png"/><Relationship Id="rId4" Type="http://schemas.openxmlformats.org/officeDocument/2006/relationships/tags" Target="../tags/tag44.xml"/><Relationship Id="rId9" Type="http://schemas.openxmlformats.org/officeDocument/2006/relationships/image" Target="../media/image26.png"/><Relationship Id="rId1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6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1.png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9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33.svg"/><Relationship Id="rId1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13" Type="http://schemas.openxmlformats.org/officeDocument/2006/relationships/image" Target="../media/image27.png"/><Relationship Id="rId18" Type="http://schemas.openxmlformats.org/officeDocument/2006/relationships/image" Target="../media/image30.png"/><Relationship Id="rId3" Type="http://schemas.openxmlformats.org/officeDocument/2006/relationships/tags" Target="../tags/tag48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38.png"/><Relationship Id="rId17" Type="http://schemas.openxmlformats.org/officeDocument/2006/relationships/image" Target="../media/image29.png"/><Relationship Id="rId2" Type="http://schemas.openxmlformats.org/officeDocument/2006/relationships/tags" Target="../tags/tag47.xml"/><Relationship Id="rId16" Type="http://schemas.openxmlformats.org/officeDocument/2006/relationships/image" Target="../media/image20.svg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26.png"/><Relationship Id="rId5" Type="http://schemas.openxmlformats.org/officeDocument/2006/relationships/tags" Target="../tags/tag50.xml"/><Relationship Id="rId15" Type="http://schemas.openxmlformats.org/officeDocument/2006/relationships/image" Target="../media/image19.png"/><Relationship Id="rId10" Type="http://schemas.openxmlformats.org/officeDocument/2006/relationships/image" Target="../media/image9.emf"/><Relationship Id="rId4" Type="http://schemas.openxmlformats.org/officeDocument/2006/relationships/tags" Target="../tags/tag49.xml"/><Relationship Id="rId9" Type="http://schemas.openxmlformats.org/officeDocument/2006/relationships/oleObject" Target="../embeddings/oleObject36.bin"/><Relationship Id="rId14" Type="http://schemas.openxmlformats.org/officeDocument/2006/relationships/image" Target="../media/image2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6" Type="http://schemas.openxmlformats.org/officeDocument/2006/relationships/image" Target="../media/image39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13" Type="http://schemas.openxmlformats.org/officeDocument/2006/relationships/image" Target="../media/image38.png"/><Relationship Id="rId18" Type="http://schemas.openxmlformats.org/officeDocument/2006/relationships/image" Target="../media/image29.png"/><Relationship Id="rId3" Type="http://schemas.openxmlformats.org/officeDocument/2006/relationships/tags" Target="../tags/tag55.xml"/><Relationship Id="rId21" Type="http://schemas.openxmlformats.org/officeDocument/2006/relationships/image" Target="../media/image47.png"/><Relationship Id="rId7" Type="http://schemas.openxmlformats.org/officeDocument/2006/relationships/tags" Target="../tags/tag59.xml"/><Relationship Id="rId12" Type="http://schemas.openxmlformats.org/officeDocument/2006/relationships/image" Target="../media/image26.png"/><Relationship Id="rId17" Type="http://schemas.openxmlformats.org/officeDocument/2006/relationships/image" Target="../media/image45.svg"/><Relationship Id="rId2" Type="http://schemas.openxmlformats.org/officeDocument/2006/relationships/tags" Target="../tags/tag54.xml"/><Relationship Id="rId16" Type="http://schemas.openxmlformats.org/officeDocument/2006/relationships/image" Target="../media/image44.png"/><Relationship Id="rId20" Type="http://schemas.openxmlformats.org/officeDocument/2006/relationships/image" Target="../media/image46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image" Target="../media/image9.emf"/><Relationship Id="rId5" Type="http://schemas.openxmlformats.org/officeDocument/2006/relationships/tags" Target="../tags/tag57.xml"/><Relationship Id="rId15" Type="http://schemas.openxmlformats.org/officeDocument/2006/relationships/image" Target="../media/image43.svg"/><Relationship Id="rId10" Type="http://schemas.openxmlformats.org/officeDocument/2006/relationships/oleObject" Target="../embeddings/oleObject38.bin"/><Relationship Id="rId19" Type="http://schemas.openxmlformats.org/officeDocument/2006/relationships/image" Target="../media/image30.png"/><Relationship Id="rId4" Type="http://schemas.openxmlformats.org/officeDocument/2006/relationships/tags" Target="../tags/tag56.xml"/><Relationship Id="rId9" Type="http://schemas.openxmlformats.org/officeDocument/2006/relationships/notesSlide" Target="../notesSlides/notesSlide8.xml"/><Relationship Id="rId1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9.svg"/><Relationship Id="rId12" Type="http://schemas.openxmlformats.org/officeDocument/2006/relationships/image" Target="../media/image53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Relationship Id="rId6" Type="http://schemas.openxmlformats.org/officeDocument/2006/relationships/image" Target="../media/image48.png"/><Relationship Id="rId11" Type="http://schemas.openxmlformats.org/officeDocument/2006/relationships/image" Target="../media/image52.png"/><Relationship Id="rId5" Type="http://schemas.openxmlformats.org/officeDocument/2006/relationships/image" Target="../media/image9.emf"/><Relationship Id="rId10" Type="http://schemas.openxmlformats.org/officeDocument/2006/relationships/image" Target="../media/image51.pn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B337494-50C0-0067-26D1-43F4E9BF1A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0738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B337494-50C0-0067-26D1-43F4E9BF1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BE73BC0-C76D-41AE-8790-1746CD3812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/>
        <p:txBody>
          <a:bodyPr vert="horz"/>
          <a:lstStyle/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sz="2400" b="1" dirty="0"/>
              <a:t>Stanzwerkzeuge aus der Smart Factory</a:t>
            </a:r>
            <a:br>
              <a:rPr lang="de-DE" sz="2400" b="1" dirty="0"/>
            </a:br>
            <a:r>
              <a:rPr lang="de-DE" sz="2400" b="1" dirty="0"/>
              <a:t>- Automatisierte Intralogistik</a:t>
            </a:r>
            <a:endParaRPr lang="de-DE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DF8654-973C-4858-942C-9E98DE0415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51131"/>
            <a:ext cx="1786359" cy="215444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Lean Lernreise 2023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D361505-3531-97BC-2995-496FB56DEC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9D2F8C38-0400-F6F8-7F8B-0AC698B9828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6"/>
          <a:srcRect t="12500" b="1250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363293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C61E63C-B4A2-DC12-3052-DDFA956416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C61E63C-B4A2-DC12-3052-DDFA95641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58F005E1-9B4B-CE62-5EF0-D6A7105905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03A4D03-9CD1-C714-DA1F-AD1F056224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Video 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40942-27B1-48CC-A98B-66EB1E158A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627FF17-7C37-1100-B04A-E1ED2271864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702"/>
          <a:stretch/>
        </p:blipFill>
        <p:spPr>
          <a:xfrm>
            <a:off x="-186813" y="604164"/>
            <a:ext cx="6772274" cy="548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744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A79ADB0-4697-6A80-5B75-4D35B261F1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721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A79ADB0-4697-6A80-5B75-4D35B261F1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19EAB5-0E3E-A84A-4F2C-EBD9862613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1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6E4947-455E-BB41-5568-B698DAB1D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Lena Dörfler | TW Production </a:t>
            </a:r>
            <a:r>
              <a:rPr lang="en-US" dirty="0" err="1"/>
              <a:t>Punchingtools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54DE1FA-BFA3-9A34-A48F-55F575BF1C8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56312-534A-DACD-AE91-A2F8C3258A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AMRs in Gerling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CA25182-3304-BD64-3B77-9E6A2869D3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Unterschiedliche Ausbaustufen nach Entwicklungsstuf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70E1BA8-AE6F-A45D-1E68-4502C96E2625}"/>
              </a:ext>
            </a:extLst>
          </p:cNvPr>
          <p:cNvSpPr txBox="1"/>
          <p:nvPr/>
        </p:nvSpPr>
        <p:spPr bwMode="gray">
          <a:xfrm>
            <a:off x="532568" y="1491165"/>
            <a:ext cx="3218907" cy="4681426"/>
          </a:xfrm>
          <a:prstGeom prst="rect">
            <a:avLst/>
          </a:prstGeom>
          <a:noFill/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endParaRPr lang="de-DE" sz="1400" b="1" kern="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EC9BC71-022D-5AD0-595D-0ACEFEBE8AD4}"/>
              </a:ext>
            </a:extLst>
          </p:cNvPr>
          <p:cNvSpPr txBox="1"/>
          <p:nvPr/>
        </p:nvSpPr>
        <p:spPr bwMode="gray">
          <a:xfrm>
            <a:off x="535257" y="1491165"/>
            <a:ext cx="3216218" cy="271846"/>
          </a:xfrm>
          <a:prstGeom prst="rect">
            <a:avLst/>
          </a:prstGeom>
          <a:gradFill flip="none" rotWithShape="1">
            <a:gsLst>
              <a:gs pos="0">
                <a:srgbClr val="E9EEF1"/>
              </a:gs>
              <a:gs pos="40000">
                <a:srgbClr val="53748E"/>
              </a:gs>
            </a:gsLst>
            <a:lin ang="10800000" scaled="1"/>
            <a:tileRect/>
          </a:gradFill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r>
              <a:rPr lang="de-DE" sz="1400" b="1" kern="0" dirty="0">
                <a:solidFill>
                  <a:schemeClr val="bg1"/>
                </a:solidFill>
                <a:latin typeface="Segoe UI"/>
              </a:rPr>
              <a:t>Ausbaustufe 1</a:t>
            </a:r>
          </a:p>
        </p:txBody>
      </p: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B487121B-C6BD-8605-674F-3992CCDB36E2}"/>
              </a:ext>
            </a:extLst>
          </p:cNvPr>
          <p:cNvGrpSpPr/>
          <p:nvPr/>
        </p:nvGrpSpPr>
        <p:grpSpPr>
          <a:xfrm>
            <a:off x="603860" y="4704147"/>
            <a:ext cx="2386569" cy="1101630"/>
            <a:chOff x="603860" y="4704147"/>
            <a:chExt cx="2386569" cy="1101630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FB77E34D-4149-F3D0-D845-C869B6920E4E}"/>
                </a:ext>
              </a:extLst>
            </p:cNvPr>
            <p:cNvSpPr txBox="1"/>
            <p:nvPr/>
          </p:nvSpPr>
          <p:spPr>
            <a:xfrm>
              <a:off x="603860" y="4704147"/>
              <a:ext cx="19846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Benefits</a:t>
              </a:r>
              <a:endParaRPr lang="de-DE" sz="1000" dirty="0">
                <a:solidFill>
                  <a:schemeClr val="hlink"/>
                </a:solidFill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CF566757-0027-83D5-297D-169A06E9D783}"/>
                </a:ext>
              </a:extLst>
            </p:cNvPr>
            <p:cNvGrpSpPr/>
            <p:nvPr/>
          </p:nvGrpSpPr>
          <p:grpSpPr>
            <a:xfrm>
              <a:off x="1030327" y="4952534"/>
              <a:ext cx="1960102" cy="853243"/>
              <a:chOff x="1030327" y="4297270"/>
              <a:chExt cx="1960102" cy="853243"/>
            </a:xfrm>
          </p:grpSpPr>
          <p:grpSp>
            <p:nvGrpSpPr>
              <p:cNvPr id="47" name="Gruppieren 46">
                <a:extLst>
                  <a:ext uri="{FF2B5EF4-FFF2-40B4-BE49-F238E27FC236}">
                    <a16:creationId xmlns:a16="http://schemas.microsoft.com/office/drawing/2014/main" id="{C8787A0B-D77C-1DDB-03D3-A649021EB654}"/>
                  </a:ext>
                </a:extLst>
              </p:cNvPr>
              <p:cNvGrpSpPr/>
              <p:nvPr/>
            </p:nvGrpSpPr>
            <p:grpSpPr>
              <a:xfrm>
                <a:off x="1030327" y="4297270"/>
                <a:ext cx="1482363" cy="853243"/>
                <a:chOff x="1030327" y="4297270"/>
                <a:chExt cx="1482363" cy="853243"/>
              </a:xfrm>
            </p:grpSpPr>
            <p:sp>
              <p:nvSpPr>
                <p:cNvPr id="54" name="Textfeld 53">
                  <a:extLst>
                    <a:ext uri="{FF2B5EF4-FFF2-40B4-BE49-F238E27FC236}">
                      <a16:creationId xmlns:a16="http://schemas.microsoft.com/office/drawing/2014/main" id="{DB8BE221-5CE3-FC48-483E-4F299915434F}"/>
                    </a:ext>
                  </a:extLst>
                </p:cNvPr>
                <p:cNvSpPr txBox="1"/>
                <p:nvPr/>
              </p:nvSpPr>
              <p:spPr>
                <a:xfrm>
                  <a:off x="1400882" y="4938229"/>
                  <a:ext cx="1111808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Bedarfsgesteuert</a:t>
                  </a:r>
                </a:p>
              </p:txBody>
            </p:sp>
            <p:sp>
              <p:nvSpPr>
                <p:cNvPr id="55" name="Textfeld 54">
                  <a:extLst>
                    <a:ext uri="{FF2B5EF4-FFF2-40B4-BE49-F238E27FC236}">
                      <a16:creationId xmlns:a16="http://schemas.microsoft.com/office/drawing/2014/main" id="{3FCA6787-F574-5F0D-3B12-8C1F469881A7}"/>
                    </a:ext>
                  </a:extLst>
                </p:cNvPr>
                <p:cNvSpPr txBox="1"/>
                <p:nvPr/>
              </p:nvSpPr>
              <p:spPr>
                <a:xfrm>
                  <a:off x="1396747" y="4638091"/>
                  <a:ext cx="1047570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Geschwindigkeit</a:t>
                  </a:r>
                </a:p>
              </p:txBody>
            </p:sp>
            <p:sp>
              <p:nvSpPr>
                <p:cNvPr id="56" name="Textfeld 55">
                  <a:extLst>
                    <a:ext uri="{FF2B5EF4-FFF2-40B4-BE49-F238E27FC236}">
                      <a16:creationId xmlns:a16="http://schemas.microsoft.com/office/drawing/2014/main" id="{01171C36-7358-523E-3E6B-6BF6EA10EC1B}"/>
                    </a:ext>
                  </a:extLst>
                </p:cNvPr>
                <p:cNvSpPr txBox="1"/>
                <p:nvPr/>
              </p:nvSpPr>
              <p:spPr>
                <a:xfrm>
                  <a:off x="1394850" y="4337953"/>
                  <a:ext cx="1031423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Transparenz</a:t>
                  </a:r>
                </a:p>
              </p:txBody>
            </p:sp>
            <p:pic>
              <p:nvPicPr>
                <p:cNvPr id="57" name="Grafik 56" descr="Recherche">
                  <a:extLst>
                    <a:ext uri="{FF2B5EF4-FFF2-40B4-BE49-F238E27FC236}">
                      <a16:creationId xmlns:a16="http://schemas.microsoft.com/office/drawing/2014/main" id="{1862B110-2417-20B9-D198-0BBAF609AB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9120" y="4297270"/>
                  <a:ext cx="235254" cy="235254"/>
                </a:xfrm>
                <a:prstGeom prst="rect">
                  <a:avLst/>
                </a:prstGeom>
              </p:spPr>
            </p:pic>
            <p:pic>
              <p:nvPicPr>
                <p:cNvPr id="58" name="Grafik 57" descr="Messgerät">
                  <a:extLst>
                    <a:ext uri="{FF2B5EF4-FFF2-40B4-BE49-F238E27FC236}">
                      <a16:creationId xmlns:a16="http://schemas.microsoft.com/office/drawing/2014/main" id="{CB2EA38F-D929-5C8E-912A-781CA6C61F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2553" y="4574006"/>
                  <a:ext cx="235254" cy="235254"/>
                </a:xfrm>
                <a:prstGeom prst="rect">
                  <a:avLst/>
                </a:prstGeom>
              </p:spPr>
            </p:pic>
            <p:pic>
              <p:nvPicPr>
                <p:cNvPr id="59" name="Grafik 58" descr="Kreise mit Pfeilen">
                  <a:extLst>
                    <a:ext uri="{FF2B5EF4-FFF2-40B4-BE49-F238E27FC236}">
                      <a16:creationId xmlns:a16="http://schemas.microsoft.com/office/drawing/2014/main" id="{909E8A71-F178-BC5E-8AAE-524114460A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0327" y="4847098"/>
                  <a:ext cx="303415" cy="303415"/>
                </a:xfrm>
                <a:prstGeom prst="rect">
                  <a:avLst/>
                </a:prstGeom>
              </p:spPr>
            </p:pic>
          </p:grpSp>
          <p:sp>
            <p:nvSpPr>
              <p:cNvPr id="48" name="Freeform 2467">
                <a:extLst>
                  <a:ext uri="{FF2B5EF4-FFF2-40B4-BE49-F238E27FC236}">
                    <a16:creationId xmlns:a16="http://schemas.microsoft.com/office/drawing/2014/main" id="{6E5062B1-8F20-68CB-B034-DC748B2E40B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2821272" y="4665105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A9F7EB45-F490-9A4B-6D9F-43B13BE67E7C}"/>
                  </a:ext>
                </a:extLst>
              </p:cNvPr>
              <p:cNvSpPr/>
              <p:nvPr/>
            </p:nvSpPr>
            <p:spPr>
              <a:xfrm>
                <a:off x="2776575" y="4623162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9FE9C6A6-3C62-CE21-700B-3AC76B3EA7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5007407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0C6484E1-CD10-9C7D-1C18-AC490771AE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5059794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B8510A3B-893A-65CD-1513-C21BA617E2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4381847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EB703026-9AAB-BB3E-DA4A-99C4016158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4434234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44ABD28-4C51-2A74-AC39-14DE6AB7B499}"/>
              </a:ext>
            </a:extLst>
          </p:cNvPr>
          <p:cNvGrpSpPr/>
          <p:nvPr/>
        </p:nvGrpSpPr>
        <p:grpSpPr>
          <a:xfrm>
            <a:off x="603860" y="3003286"/>
            <a:ext cx="2788651" cy="1479698"/>
            <a:chOff x="603860" y="3003286"/>
            <a:chExt cx="2788651" cy="1479698"/>
          </a:xfrm>
        </p:grpSpPr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155299C4-9A24-B622-1025-62F208BC95B2}"/>
                </a:ext>
              </a:extLst>
            </p:cNvPr>
            <p:cNvSpPr/>
            <p:nvPr/>
          </p:nvSpPr>
          <p:spPr>
            <a:xfrm>
              <a:off x="105811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F86AB78D-C71C-3E1E-A190-3366F854A210}"/>
                </a:ext>
              </a:extLst>
            </p:cNvPr>
            <p:cNvSpPr/>
            <p:nvPr/>
          </p:nvSpPr>
          <p:spPr>
            <a:xfrm>
              <a:off x="1156691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6C1AED81-5F9B-60AE-3CB0-B55654761375}"/>
                </a:ext>
              </a:extLst>
            </p:cNvPr>
            <p:cNvSpPr/>
            <p:nvPr/>
          </p:nvSpPr>
          <p:spPr>
            <a:xfrm>
              <a:off x="1234717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38A26637-A793-4D1C-B2B7-E66055E68711}"/>
                </a:ext>
              </a:extLst>
            </p:cNvPr>
            <p:cNvSpPr/>
            <p:nvPr/>
          </p:nvSpPr>
          <p:spPr>
            <a:xfrm>
              <a:off x="1334203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06DA8491-9D53-D1B7-5BFF-E1AC85221CD6}"/>
                </a:ext>
              </a:extLst>
            </p:cNvPr>
            <p:cNvSpPr/>
            <p:nvPr/>
          </p:nvSpPr>
          <p:spPr>
            <a:xfrm>
              <a:off x="1411318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4DD270F7-FB34-33C6-50A2-74A6EC8A9205}"/>
                </a:ext>
              </a:extLst>
            </p:cNvPr>
            <p:cNvSpPr/>
            <p:nvPr/>
          </p:nvSpPr>
          <p:spPr>
            <a:xfrm>
              <a:off x="1842434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05C24279-04D5-B999-BD92-2EE32D868644}"/>
                </a:ext>
              </a:extLst>
            </p:cNvPr>
            <p:cNvSpPr/>
            <p:nvPr/>
          </p:nvSpPr>
          <p:spPr>
            <a:xfrm>
              <a:off x="1941009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7" name="Rechteck: abgerundete Ecken 26">
              <a:extLst>
                <a:ext uri="{FF2B5EF4-FFF2-40B4-BE49-F238E27FC236}">
                  <a16:creationId xmlns:a16="http://schemas.microsoft.com/office/drawing/2014/main" id="{2EEF89C4-92E3-FBEF-2E2D-3A3E0B44CBE7}"/>
                </a:ext>
              </a:extLst>
            </p:cNvPr>
            <p:cNvSpPr/>
            <p:nvPr/>
          </p:nvSpPr>
          <p:spPr>
            <a:xfrm>
              <a:off x="2019035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42AC83B7-875C-E977-A409-9BCBA0A659B9}"/>
                </a:ext>
              </a:extLst>
            </p:cNvPr>
            <p:cNvSpPr/>
            <p:nvPr/>
          </p:nvSpPr>
          <p:spPr>
            <a:xfrm>
              <a:off x="2118521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9" name="Rechteck: abgerundete Ecken 28">
              <a:extLst>
                <a:ext uri="{FF2B5EF4-FFF2-40B4-BE49-F238E27FC236}">
                  <a16:creationId xmlns:a16="http://schemas.microsoft.com/office/drawing/2014/main" id="{1A8671AC-905E-141B-3F11-0D44A40AC0A5}"/>
                </a:ext>
              </a:extLst>
            </p:cNvPr>
            <p:cNvSpPr/>
            <p:nvPr/>
          </p:nvSpPr>
          <p:spPr>
            <a:xfrm>
              <a:off x="219563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02F71979-E977-78E0-275F-52EC0B53589B}"/>
                </a:ext>
              </a:extLst>
            </p:cNvPr>
            <p:cNvSpPr/>
            <p:nvPr/>
          </p:nvSpPr>
          <p:spPr>
            <a:xfrm>
              <a:off x="2624984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DAC3BCC4-8C50-EDBB-DA18-97D709D3C178}"/>
                </a:ext>
              </a:extLst>
            </p:cNvPr>
            <p:cNvSpPr/>
            <p:nvPr/>
          </p:nvSpPr>
          <p:spPr>
            <a:xfrm>
              <a:off x="2723559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2" name="Rechteck: abgerundete Ecken 31">
              <a:extLst>
                <a:ext uri="{FF2B5EF4-FFF2-40B4-BE49-F238E27FC236}">
                  <a16:creationId xmlns:a16="http://schemas.microsoft.com/office/drawing/2014/main" id="{0A7BF23B-34E5-E292-0B6A-7DC3F29B0DE4}"/>
                </a:ext>
              </a:extLst>
            </p:cNvPr>
            <p:cNvSpPr/>
            <p:nvPr/>
          </p:nvSpPr>
          <p:spPr>
            <a:xfrm>
              <a:off x="2801585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BE188821-4F2C-FA60-A9C5-DCC5650EFB8F}"/>
                </a:ext>
              </a:extLst>
            </p:cNvPr>
            <p:cNvSpPr/>
            <p:nvPr/>
          </p:nvSpPr>
          <p:spPr>
            <a:xfrm>
              <a:off x="2901071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4" name="Rechteck: abgerundete Ecken 33">
              <a:extLst>
                <a:ext uri="{FF2B5EF4-FFF2-40B4-BE49-F238E27FC236}">
                  <a16:creationId xmlns:a16="http://schemas.microsoft.com/office/drawing/2014/main" id="{3635C606-7707-172A-3806-776863AECE73}"/>
                </a:ext>
              </a:extLst>
            </p:cNvPr>
            <p:cNvSpPr/>
            <p:nvPr/>
          </p:nvSpPr>
          <p:spPr>
            <a:xfrm>
              <a:off x="297818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5" name="Pfeil: nach unten gekrümmt 34">
              <a:extLst>
                <a:ext uri="{FF2B5EF4-FFF2-40B4-BE49-F238E27FC236}">
                  <a16:creationId xmlns:a16="http://schemas.microsoft.com/office/drawing/2014/main" id="{5EFF90C4-9811-10B9-7FBE-14CE9481BF19}"/>
                </a:ext>
              </a:extLst>
            </p:cNvPr>
            <p:cNvSpPr/>
            <p:nvPr/>
          </p:nvSpPr>
          <p:spPr>
            <a:xfrm>
              <a:off x="1531733" y="4088649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Pfeil: nach unten gekrümmt 35">
              <a:extLst>
                <a:ext uri="{FF2B5EF4-FFF2-40B4-BE49-F238E27FC236}">
                  <a16:creationId xmlns:a16="http://schemas.microsoft.com/office/drawing/2014/main" id="{7A80229B-F00E-4375-3D6E-08F4EC732DAD}"/>
                </a:ext>
              </a:extLst>
            </p:cNvPr>
            <p:cNvSpPr/>
            <p:nvPr/>
          </p:nvSpPr>
          <p:spPr>
            <a:xfrm>
              <a:off x="2334031" y="4088649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16D1FE81-F838-8A81-2439-527B58B1A326}"/>
                </a:ext>
              </a:extLst>
            </p:cNvPr>
            <p:cNvSpPr/>
            <p:nvPr/>
          </p:nvSpPr>
          <p:spPr>
            <a:xfrm>
              <a:off x="1059154" y="3697912"/>
              <a:ext cx="1741440" cy="180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79CB8919-73BF-06CE-6548-0A84C192E2F6}"/>
                </a:ext>
              </a:extLst>
            </p:cNvPr>
            <p:cNvSpPr/>
            <p:nvPr/>
          </p:nvSpPr>
          <p:spPr>
            <a:xfrm>
              <a:off x="1001763" y="3394497"/>
              <a:ext cx="1800000" cy="180000"/>
            </a:xfrm>
            <a:prstGeom prst="rect">
              <a:avLst/>
            </a:prstGeom>
            <a:solidFill>
              <a:srgbClr val="999999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r>
                <a:rPr lang="de-DE" sz="1000" b="1" dirty="0"/>
                <a:t>Ø alle 30 min</a:t>
              </a: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AB64D73-E031-0D24-09B6-50189922D93C}"/>
                </a:ext>
              </a:extLst>
            </p:cNvPr>
            <p:cNvSpPr/>
            <p:nvPr/>
          </p:nvSpPr>
          <p:spPr>
            <a:xfrm>
              <a:off x="1000594" y="3697947"/>
              <a:ext cx="900000" cy="179965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endParaRPr lang="de-DE" sz="1000" b="1" dirty="0"/>
            </a:p>
          </p:txBody>
        </p: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8CD73677-D617-0F43-5F55-CFF8E17746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0593" y="3271236"/>
              <a:ext cx="1169" cy="744575"/>
            </a:xfrm>
            <a:prstGeom prst="line">
              <a:avLst/>
            </a:prstGeom>
            <a:ln w="38100" cap="flat" cmpd="sng" algn="ctr">
              <a:solidFill>
                <a:schemeClr val="hlink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Verbinder: gewinkelt 41">
              <a:extLst>
                <a:ext uri="{FF2B5EF4-FFF2-40B4-BE49-F238E27FC236}">
                  <a16:creationId xmlns:a16="http://schemas.microsoft.com/office/drawing/2014/main" id="{80B2EE34-F696-FBF0-B941-F7368FC1E422}"/>
                </a:ext>
              </a:extLst>
            </p:cNvPr>
            <p:cNvCxnSpPr>
              <a:stCxn id="39" idx="3"/>
              <a:endCxn id="38" idx="3"/>
            </p:cNvCxnSpPr>
            <p:nvPr/>
          </p:nvCxnSpPr>
          <p:spPr>
            <a:xfrm flipH="1">
              <a:off x="2800594" y="3484497"/>
              <a:ext cx="1169" cy="303415"/>
            </a:xfrm>
            <a:prstGeom prst="bentConnector3">
              <a:avLst>
                <a:gd name="adj1" fmla="val -14666382"/>
              </a:avLst>
            </a:prstGeom>
            <a:ln w="19050" cap="flat" cmpd="sng" algn="ctr">
              <a:solidFill>
                <a:schemeClr val="hlink"/>
              </a:solidFill>
              <a:prstDash val="solid"/>
              <a:miter lim="800000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E5D0E40D-88E8-9D3F-A033-4FEB922DA6F5}"/>
                </a:ext>
              </a:extLst>
            </p:cNvPr>
            <p:cNvSpPr txBox="1"/>
            <p:nvPr/>
          </p:nvSpPr>
          <p:spPr>
            <a:xfrm>
              <a:off x="1071066" y="3716012"/>
              <a:ext cx="90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000" b="1" dirty="0"/>
                <a:t>Ø alle 15 min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63AC2C73-5F65-EDCB-791E-5B4D92969704}"/>
                </a:ext>
              </a:extLst>
            </p:cNvPr>
            <p:cNvSpPr txBox="1"/>
            <p:nvPr/>
          </p:nvSpPr>
          <p:spPr>
            <a:xfrm>
              <a:off x="2826028" y="3562799"/>
              <a:ext cx="566483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dirty="0">
                  <a:solidFill>
                    <a:schemeClr val="accent6"/>
                  </a:solidFill>
                </a:rPr>
                <a:t>- 50 %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DB0EB7B-1742-DB3E-FCF9-229AF9718C56}"/>
                </a:ext>
              </a:extLst>
            </p:cNvPr>
            <p:cNvSpPr txBox="1"/>
            <p:nvPr/>
          </p:nvSpPr>
          <p:spPr>
            <a:xfrm>
              <a:off x="3016815" y="3766989"/>
              <a:ext cx="26663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800" dirty="0">
                  <a:solidFill>
                    <a:srgbClr val="707070"/>
                  </a:solidFill>
                </a:rPr>
                <a:t>neu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2D94117C-8236-C49A-1763-D1B1B87B849E}"/>
                </a:ext>
              </a:extLst>
            </p:cNvPr>
            <p:cNvSpPr txBox="1"/>
            <p:nvPr/>
          </p:nvSpPr>
          <p:spPr>
            <a:xfrm>
              <a:off x="3016815" y="3386056"/>
              <a:ext cx="26663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800" dirty="0">
                  <a:solidFill>
                    <a:srgbClr val="707070"/>
                  </a:solidFill>
                </a:rPr>
                <a:t>alt</a:t>
              </a:r>
            </a:p>
          </p:txBody>
        </p:sp>
        <p:sp>
          <p:nvSpPr>
            <p:cNvPr id="118" name="Textfeld 117">
              <a:extLst>
                <a:ext uri="{FF2B5EF4-FFF2-40B4-BE49-F238E27FC236}">
                  <a16:creationId xmlns:a16="http://schemas.microsoft.com/office/drawing/2014/main" id="{29CECACE-5AD8-894C-FFBF-521064AE12BA}"/>
                </a:ext>
              </a:extLst>
            </p:cNvPr>
            <p:cNvSpPr txBox="1"/>
            <p:nvPr/>
          </p:nvSpPr>
          <p:spPr>
            <a:xfrm>
              <a:off x="603860" y="3003286"/>
              <a:ext cx="231889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Transportintervall</a:t>
              </a:r>
            </a:p>
          </p:txBody>
        </p:sp>
      </p:grpSp>
      <p:pic>
        <p:nvPicPr>
          <p:cNvPr id="166" name="Grafik 165">
            <a:extLst>
              <a:ext uri="{FF2B5EF4-FFF2-40B4-BE49-F238E27FC236}">
                <a16:creationId xmlns:a16="http://schemas.microsoft.com/office/drawing/2014/main" id="{9B677859-2808-7B9D-F1E7-8C3B201AE6F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2572" y="1510625"/>
            <a:ext cx="2838898" cy="205495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292F5D7D-C080-5DB7-2952-E550B9F08A4B}"/>
              </a:ext>
            </a:extLst>
          </p:cNvPr>
          <p:cNvSpPr/>
          <p:nvPr/>
        </p:nvSpPr>
        <p:spPr>
          <a:xfrm rot="602340">
            <a:off x="3079774" y="1352107"/>
            <a:ext cx="1425776" cy="847577"/>
          </a:xfrm>
          <a:prstGeom prst="rect">
            <a:avLst/>
          </a:prstGeom>
          <a:solidFill>
            <a:schemeClr val="bg1"/>
          </a:solidFill>
          <a:ln w="22225">
            <a:gradFill flip="none" rotWithShape="1">
              <a:gsLst>
                <a:gs pos="0">
                  <a:schemeClr val="bg1"/>
                </a:gs>
                <a:gs pos="25000">
                  <a:schemeClr val="accent6"/>
                </a:gs>
                <a:gs pos="85000">
                  <a:schemeClr val="accent6"/>
                </a:gs>
                <a:gs pos="100000">
                  <a:schemeClr val="bg1"/>
                </a:gs>
              </a:gsLst>
              <a:lin ang="81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000" dirty="0">
                <a:solidFill>
                  <a:schemeClr val="accent6"/>
                </a:solidFill>
              </a:rPr>
              <a:t>Bereits</a:t>
            </a:r>
          </a:p>
          <a:p>
            <a:pPr algn="ctr"/>
            <a:r>
              <a:rPr lang="de-DE" dirty="0">
                <a:solidFill>
                  <a:schemeClr val="accent6"/>
                </a:solidFill>
              </a:rPr>
              <a:t>&gt; 7.000 km </a:t>
            </a:r>
            <a:r>
              <a:rPr lang="de-DE" sz="1000" dirty="0">
                <a:solidFill>
                  <a:schemeClr val="accent6"/>
                </a:solidFill>
              </a:rPr>
              <a:t>automatisierte Logistikroute</a:t>
            </a:r>
          </a:p>
        </p:txBody>
      </p:sp>
    </p:spTree>
    <p:extLst>
      <p:ext uri="{BB962C8B-B14F-4D97-AF65-F5344CB8AC3E}">
        <p14:creationId xmlns:p14="http://schemas.microsoft.com/office/powerpoint/2010/main" val="17260080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158C3E0-3903-4C3F-B7C9-E28A61B3D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003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158C3E0-3903-4C3F-B7C9-E28A61B3D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4BD223-E750-423D-AD55-8ED9F00CEA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Fleet Manag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A039CA-FE9F-46EB-A697-AB22439FB7B9}"/>
              </a:ext>
            </a:extLst>
          </p:cNvPr>
          <p:cNvSpPr>
            <a:spLocks noGrp="1"/>
          </p:cNvSpPr>
          <p:nvPr/>
        </p:nvSpPr>
        <p:spPr>
          <a:xfrm>
            <a:off x="515938" y="919611"/>
            <a:ext cx="11160000" cy="387798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pic>
        <p:nvPicPr>
          <p:cNvPr id="9218" name="Grafik 1">
            <a:extLst>
              <a:ext uri="{FF2B5EF4-FFF2-40B4-BE49-F238E27FC236}">
                <a16:creationId xmlns:a16="http://schemas.microsoft.com/office/drawing/2014/main" id="{5B8B64E7-DFCC-40AB-8AA4-8EDA6CF53C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924"/>
          <a:stretch/>
        </p:blipFill>
        <p:spPr bwMode="auto">
          <a:xfrm>
            <a:off x="552500" y="1307409"/>
            <a:ext cx="11086875" cy="4778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C9C0EAF-BEE3-B81E-8C77-73D4B43036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7AC6B67-F850-F0BB-86AA-5D225B154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2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670B9C5B-D41A-5A93-3513-1B6FB98583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15779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C61E63C-B4A2-DC12-3052-DDFA956416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76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C61E63C-B4A2-DC12-3052-DDFA95641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58F005E1-9B4B-CE62-5EF0-D6A7105905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03A4D03-9CD1-C714-DA1F-AD1F056224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Video 2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40942-27B1-48CC-A98B-66EB1E158A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73D0122-9E0C-935D-1F73-F8B366810B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982"/>
          <a:stretch/>
        </p:blipFill>
        <p:spPr>
          <a:xfrm>
            <a:off x="0" y="143067"/>
            <a:ext cx="7265045" cy="6411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4951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A79ADB0-4697-6A80-5B75-4D35B261F1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A79ADB0-4697-6A80-5B75-4D35B261F1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19EAB5-0E3E-A84A-4F2C-EBD9862613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4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6E4947-455E-BB41-5568-B698DAB1D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Lena Dörfler | TW Production </a:t>
            </a:r>
            <a:r>
              <a:rPr lang="en-US" dirty="0" err="1"/>
              <a:t>Punchingtools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54DE1FA-BFA3-9A34-A48F-55F575BF1C8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56312-534A-DACD-AE91-A2F8C3258A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AMRs in Gerling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CA25182-3304-BD64-3B77-9E6A2869D3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Unterschiedliche Ausbaustufen nach Entwicklungsstufen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A2B0A868-E0BE-CBE9-27F2-1F38018DCB2D}"/>
              </a:ext>
            </a:extLst>
          </p:cNvPr>
          <p:cNvSpPr txBox="1"/>
          <p:nvPr/>
        </p:nvSpPr>
        <p:spPr bwMode="gray">
          <a:xfrm>
            <a:off x="4118042" y="1491165"/>
            <a:ext cx="3218907" cy="4681426"/>
          </a:xfrm>
          <a:prstGeom prst="rect">
            <a:avLst/>
          </a:prstGeom>
          <a:noFill/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endParaRPr lang="de-DE" sz="1400" b="1" kern="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43C7AB66-3912-2731-843B-27275FBBD9EF}"/>
              </a:ext>
            </a:extLst>
          </p:cNvPr>
          <p:cNvSpPr txBox="1"/>
          <p:nvPr/>
        </p:nvSpPr>
        <p:spPr bwMode="gray">
          <a:xfrm>
            <a:off x="4118042" y="1491165"/>
            <a:ext cx="3216218" cy="271846"/>
          </a:xfrm>
          <a:prstGeom prst="rect">
            <a:avLst/>
          </a:prstGeom>
          <a:gradFill flip="none" rotWithShape="1">
            <a:gsLst>
              <a:gs pos="0">
                <a:srgbClr val="E9EEF1"/>
              </a:gs>
              <a:gs pos="40000">
                <a:srgbClr val="53748E"/>
              </a:gs>
            </a:gsLst>
            <a:lin ang="10800000" scaled="1"/>
            <a:tileRect/>
          </a:gradFill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r>
              <a:rPr lang="de-DE" sz="1400" b="1" kern="0" dirty="0">
                <a:solidFill>
                  <a:schemeClr val="bg1"/>
                </a:solidFill>
                <a:latin typeface="Segoe UI"/>
              </a:rPr>
              <a:t>Ausbaustufe 2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9388BD2-B1E7-6A16-F0D3-EAE1AB55B2D8}"/>
              </a:ext>
            </a:extLst>
          </p:cNvPr>
          <p:cNvGrpSpPr/>
          <p:nvPr/>
        </p:nvGrpSpPr>
        <p:grpSpPr>
          <a:xfrm>
            <a:off x="4216007" y="3003286"/>
            <a:ext cx="2762106" cy="1480500"/>
            <a:chOff x="4216007" y="3003286"/>
            <a:chExt cx="2762106" cy="1480500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7C17A9A8-3759-FD7E-302E-6236424E4B95}"/>
                </a:ext>
              </a:extLst>
            </p:cNvPr>
            <p:cNvSpPr txBox="1"/>
            <p:nvPr/>
          </p:nvSpPr>
          <p:spPr>
            <a:xfrm>
              <a:off x="4216007" y="3003286"/>
              <a:ext cx="231889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Transportintervall</a:t>
              </a:r>
            </a:p>
          </p:txBody>
        </p:sp>
        <p:sp>
          <p:nvSpPr>
            <p:cNvPr id="70" name="Rechteck: abgerundete Ecken 69">
              <a:extLst>
                <a:ext uri="{FF2B5EF4-FFF2-40B4-BE49-F238E27FC236}">
                  <a16:creationId xmlns:a16="http://schemas.microsoft.com/office/drawing/2014/main" id="{CB544F04-30AA-67A5-7DD6-105CAFED0C5F}"/>
                </a:ext>
              </a:extLst>
            </p:cNvPr>
            <p:cNvSpPr/>
            <p:nvPr/>
          </p:nvSpPr>
          <p:spPr>
            <a:xfrm>
              <a:off x="4662487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1" name="Rechteck: abgerundete Ecken 70">
              <a:extLst>
                <a:ext uri="{FF2B5EF4-FFF2-40B4-BE49-F238E27FC236}">
                  <a16:creationId xmlns:a16="http://schemas.microsoft.com/office/drawing/2014/main" id="{C02A0AF5-1ABF-A905-ABA8-6C68B7EFD5D1}"/>
                </a:ext>
              </a:extLst>
            </p:cNvPr>
            <p:cNvSpPr/>
            <p:nvPr/>
          </p:nvSpPr>
          <p:spPr>
            <a:xfrm>
              <a:off x="4839088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2" name="Rechteck: abgerundete Ecken 71">
              <a:extLst>
                <a:ext uri="{FF2B5EF4-FFF2-40B4-BE49-F238E27FC236}">
                  <a16:creationId xmlns:a16="http://schemas.microsoft.com/office/drawing/2014/main" id="{5EB19697-0575-2420-BECF-7F94F605D4D7}"/>
                </a:ext>
              </a:extLst>
            </p:cNvPr>
            <p:cNvSpPr/>
            <p:nvPr/>
          </p:nvSpPr>
          <p:spPr>
            <a:xfrm>
              <a:off x="5446805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3" name="Rechteck: abgerundete Ecken 72">
              <a:extLst>
                <a:ext uri="{FF2B5EF4-FFF2-40B4-BE49-F238E27FC236}">
                  <a16:creationId xmlns:a16="http://schemas.microsoft.com/office/drawing/2014/main" id="{399DFB99-4EED-2546-D9C4-9A944C113F48}"/>
                </a:ext>
              </a:extLst>
            </p:cNvPr>
            <p:cNvSpPr/>
            <p:nvPr/>
          </p:nvSpPr>
          <p:spPr>
            <a:xfrm>
              <a:off x="5623406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4" name="Rechteck: abgerundete Ecken 73">
              <a:extLst>
                <a:ext uri="{FF2B5EF4-FFF2-40B4-BE49-F238E27FC236}">
                  <a16:creationId xmlns:a16="http://schemas.microsoft.com/office/drawing/2014/main" id="{D449F2F8-C0C9-8288-BBF9-2B749C7CCA22}"/>
                </a:ext>
              </a:extLst>
            </p:cNvPr>
            <p:cNvSpPr/>
            <p:nvPr/>
          </p:nvSpPr>
          <p:spPr>
            <a:xfrm>
              <a:off x="6229355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5" name="Rechteck: abgerundete Ecken 74">
              <a:extLst>
                <a:ext uri="{FF2B5EF4-FFF2-40B4-BE49-F238E27FC236}">
                  <a16:creationId xmlns:a16="http://schemas.microsoft.com/office/drawing/2014/main" id="{B6606001-5637-765A-FED3-84D37AE1F1EA}"/>
                </a:ext>
              </a:extLst>
            </p:cNvPr>
            <p:cNvSpPr/>
            <p:nvPr/>
          </p:nvSpPr>
          <p:spPr>
            <a:xfrm>
              <a:off x="6405956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6" name="Pfeil: nach unten gekrümmt 75">
              <a:extLst>
                <a:ext uri="{FF2B5EF4-FFF2-40B4-BE49-F238E27FC236}">
                  <a16:creationId xmlns:a16="http://schemas.microsoft.com/office/drawing/2014/main" id="{6FE86CCF-89F7-E3DF-1E5E-1920EB358AFB}"/>
                </a:ext>
              </a:extLst>
            </p:cNvPr>
            <p:cNvSpPr/>
            <p:nvPr/>
          </p:nvSpPr>
          <p:spPr>
            <a:xfrm>
              <a:off x="5032212" y="4089451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Pfeil: nach unten gekrümmt 76">
              <a:extLst>
                <a:ext uri="{FF2B5EF4-FFF2-40B4-BE49-F238E27FC236}">
                  <a16:creationId xmlns:a16="http://schemas.microsoft.com/office/drawing/2014/main" id="{E235B0D6-0F3E-0360-0EE8-AF67B7485B90}"/>
                </a:ext>
              </a:extLst>
            </p:cNvPr>
            <p:cNvSpPr/>
            <p:nvPr/>
          </p:nvSpPr>
          <p:spPr>
            <a:xfrm>
              <a:off x="5834510" y="4089451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7A9DD612-4CF7-562D-ABD8-7076EA4F9DA7}"/>
                </a:ext>
              </a:extLst>
            </p:cNvPr>
            <p:cNvGrpSpPr/>
            <p:nvPr/>
          </p:nvGrpSpPr>
          <p:grpSpPr>
            <a:xfrm>
              <a:off x="4554943" y="3272038"/>
              <a:ext cx="2423170" cy="744575"/>
              <a:chOff x="4570282" y="2657917"/>
              <a:chExt cx="2423170" cy="744575"/>
            </a:xfrm>
          </p:grpSpPr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9A347854-54A9-40DC-4124-CFB963B1933F}"/>
                  </a:ext>
                </a:extLst>
              </p:cNvPr>
              <p:cNvSpPr/>
              <p:nvPr/>
            </p:nvSpPr>
            <p:spPr>
              <a:xfrm>
                <a:off x="4628843" y="3084593"/>
                <a:ext cx="1741440" cy="180000"/>
              </a:xfrm>
              <a:prstGeom prst="rect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Rechteck 79">
                <a:extLst>
                  <a:ext uri="{FF2B5EF4-FFF2-40B4-BE49-F238E27FC236}">
                    <a16:creationId xmlns:a16="http://schemas.microsoft.com/office/drawing/2014/main" id="{9D202BDC-18B8-46AA-CE3A-F6A64725C7AD}"/>
                  </a:ext>
                </a:extLst>
              </p:cNvPr>
              <p:cNvSpPr/>
              <p:nvPr/>
            </p:nvSpPr>
            <p:spPr>
              <a:xfrm>
                <a:off x="4571452" y="2781178"/>
                <a:ext cx="1800000" cy="180000"/>
              </a:xfrm>
              <a:prstGeom prst="rect">
                <a:avLst/>
              </a:prstGeom>
              <a:solidFill>
                <a:srgbClr val="999999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r>
                  <a:rPr lang="de-DE" sz="1000" b="1" dirty="0"/>
                  <a:t>Ø alle 30 min</a:t>
                </a: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7BD87F25-46CC-6A67-1BE8-843210BD9ABA}"/>
                  </a:ext>
                </a:extLst>
              </p:cNvPr>
              <p:cNvSpPr/>
              <p:nvPr/>
            </p:nvSpPr>
            <p:spPr>
              <a:xfrm>
                <a:off x="4570283" y="3084628"/>
                <a:ext cx="594000" cy="180000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endParaRPr lang="de-DE" sz="1000" b="1" dirty="0"/>
              </a:p>
            </p:txBody>
          </p:sp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C7AF584C-83FD-EDAD-BEAC-FC0E009345A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70282" y="2657917"/>
                <a:ext cx="1169" cy="744575"/>
              </a:xfrm>
              <a:prstGeom prst="line">
                <a:avLst/>
              </a:prstGeom>
              <a:ln w="38100" cap="flat" cmpd="sng" algn="ctr">
                <a:solidFill>
                  <a:schemeClr val="hlink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Verbinder: gewinkelt 82">
                <a:extLst>
                  <a:ext uri="{FF2B5EF4-FFF2-40B4-BE49-F238E27FC236}">
                    <a16:creationId xmlns:a16="http://schemas.microsoft.com/office/drawing/2014/main" id="{5E36ABCB-4459-4672-B698-6D4549289E01}"/>
                  </a:ext>
                </a:extLst>
              </p:cNvPr>
              <p:cNvCxnSpPr>
                <a:stCxn id="80" idx="3"/>
                <a:endCxn id="79" idx="3"/>
              </p:cNvCxnSpPr>
              <p:nvPr/>
            </p:nvCxnSpPr>
            <p:spPr>
              <a:xfrm flipH="1">
                <a:off x="6370283" y="2871178"/>
                <a:ext cx="1169" cy="303415"/>
              </a:xfrm>
              <a:prstGeom prst="bentConnector3">
                <a:avLst>
                  <a:gd name="adj1" fmla="val -14666382"/>
                </a:avLst>
              </a:prstGeom>
              <a:ln w="19050" cap="flat" cmpd="sng" algn="ctr">
                <a:solidFill>
                  <a:schemeClr val="hlink"/>
                </a:solidFill>
                <a:prstDash val="solid"/>
                <a:miter lim="800000"/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BF5854FB-98F7-A600-F1DF-B0F23627F371}"/>
                  </a:ext>
                </a:extLst>
              </p:cNvPr>
              <p:cNvSpPr txBox="1"/>
              <p:nvPr/>
            </p:nvSpPr>
            <p:spPr>
              <a:xfrm>
                <a:off x="5214842" y="3102693"/>
                <a:ext cx="8180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000" b="1" dirty="0"/>
                  <a:t>Ø alle 10 min</a:t>
                </a:r>
              </a:p>
            </p:txBody>
          </p:sp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F97A438E-B1D8-8557-8F1C-96BF1AE6CE19}"/>
                  </a:ext>
                </a:extLst>
              </p:cNvPr>
              <p:cNvSpPr txBox="1"/>
              <p:nvPr/>
            </p:nvSpPr>
            <p:spPr>
              <a:xfrm>
                <a:off x="6395718" y="2949480"/>
                <a:ext cx="597734" cy="1538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b="1" dirty="0">
                    <a:solidFill>
                      <a:schemeClr val="accent6"/>
                    </a:solidFill>
                  </a:rPr>
                  <a:t>- 67 %</a:t>
                </a:r>
              </a:p>
            </p:txBody>
          </p:sp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39E3CF40-BBFB-5854-8C3B-13A5496F40A8}"/>
                  </a:ext>
                </a:extLst>
              </p:cNvPr>
              <p:cNvSpPr txBox="1"/>
              <p:nvPr/>
            </p:nvSpPr>
            <p:spPr>
              <a:xfrm>
                <a:off x="6585729" y="3149504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neu</a:t>
                </a:r>
              </a:p>
            </p:txBody>
          </p: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A3A52708-0C04-590A-E9D4-D458A9D5CAFF}"/>
                  </a:ext>
                </a:extLst>
              </p:cNvPr>
              <p:cNvSpPr txBox="1"/>
              <p:nvPr/>
            </p:nvSpPr>
            <p:spPr>
              <a:xfrm>
                <a:off x="6585729" y="2768571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alt</a:t>
                </a:r>
              </a:p>
            </p:txBody>
          </p:sp>
        </p:grpSp>
      </p:grpSp>
      <p:grpSp>
        <p:nvGrpSpPr>
          <p:cNvPr id="164" name="Gruppieren 163">
            <a:extLst>
              <a:ext uri="{FF2B5EF4-FFF2-40B4-BE49-F238E27FC236}">
                <a16:creationId xmlns:a16="http://schemas.microsoft.com/office/drawing/2014/main" id="{4DE9C810-BC41-8A8B-09C5-F0C1721BF26B}"/>
              </a:ext>
            </a:extLst>
          </p:cNvPr>
          <p:cNvGrpSpPr/>
          <p:nvPr/>
        </p:nvGrpSpPr>
        <p:grpSpPr>
          <a:xfrm>
            <a:off x="4216007" y="4704147"/>
            <a:ext cx="2621017" cy="1110924"/>
            <a:chOff x="4216007" y="4704147"/>
            <a:chExt cx="2621017" cy="1110924"/>
          </a:xfrm>
        </p:grpSpPr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F01EE14B-4410-A1B8-49DF-CD0EFAF3811A}"/>
                </a:ext>
              </a:extLst>
            </p:cNvPr>
            <p:cNvGrpSpPr/>
            <p:nvPr/>
          </p:nvGrpSpPr>
          <p:grpSpPr>
            <a:xfrm>
              <a:off x="4611950" y="4961828"/>
              <a:ext cx="1482363" cy="853243"/>
              <a:chOff x="1030327" y="4297270"/>
              <a:chExt cx="1482363" cy="853243"/>
            </a:xfrm>
          </p:grpSpPr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59A4B18E-B885-2AB9-3423-D2DF5A02C1E4}"/>
                  </a:ext>
                </a:extLst>
              </p:cNvPr>
              <p:cNvSpPr txBox="1"/>
              <p:nvPr/>
            </p:nvSpPr>
            <p:spPr>
              <a:xfrm>
                <a:off x="1400882" y="4938229"/>
                <a:ext cx="1111808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Bedarfsgesteuert</a:t>
                </a:r>
              </a:p>
            </p:txBody>
          </p:sp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430CFBA1-2DA9-C536-D5A8-B517685D8B56}"/>
                  </a:ext>
                </a:extLst>
              </p:cNvPr>
              <p:cNvSpPr txBox="1"/>
              <p:nvPr/>
            </p:nvSpPr>
            <p:spPr>
              <a:xfrm>
                <a:off x="1396747" y="4638091"/>
                <a:ext cx="1047570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Geschwindigkeit</a:t>
                </a:r>
              </a:p>
            </p:txBody>
          </p:sp>
          <p:sp>
            <p:nvSpPr>
              <p:cNvPr id="98" name="Textfeld 97">
                <a:extLst>
                  <a:ext uri="{FF2B5EF4-FFF2-40B4-BE49-F238E27FC236}">
                    <a16:creationId xmlns:a16="http://schemas.microsoft.com/office/drawing/2014/main" id="{7DD17627-346F-7819-F3F0-EE8802CA558B}"/>
                  </a:ext>
                </a:extLst>
              </p:cNvPr>
              <p:cNvSpPr txBox="1"/>
              <p:nvPr/>
            </p:nvSpPr>
            <p:spPr>
              <a:xfrm>
                <a:off x="1394850" y="4337953"/>
                <a:ext cx="103142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Transparenz</a:t>
                </a:r>
              </a:p>
            </p:txBody>
          </p:sp>
          <p:pic>
            <p:nvPicPr>
              <p:cNvPr id="99" name="Grafik 98" descr="Recherche">
                <a:extLst>
                  <a:ext uri="{FF2B5EF4-FFF2-40B4-BE49-F238E27FC236}">
                    <a16:creationId xmlns:a16="http://schemas.microsoft.com/office/drawing/2014/main" id="{8BE47525-463D-3753-D36B-7F5196C2C4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69120" y="4297270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100" name="Grafik 99" descr="Messgerät">
                <a:extLst>
                  <a:ext uri="{FF2B5EF4-FFF2-40B4-BE49-F238E27FC236}">
                    <a16:creationId xmlns:a16="http://schemas.microsoft.com/office/drawing/2014/main" id="{D251C2A7-1897-04D4-C902-84E1D04F58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072553" y="4574006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101" name="Grafik 100" descr="Kreise mit Pfeilen">
                <a:extLst>
                  <a:ext uri="{FF2B5EF4-FFF2-40B4-BE49-F238E27FC236}">
                    <a16:creationId xmlns:a16="http://schemas.microsoft.com/office/drawing/2014/main" id="{53E1083A-C228-4EFD-001A-FCD7C5458A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030327" y="4847098"/>
                <a:ext cx="303415" cy="303415"/>
              </a:xfrm>
              <a:prstGeom prst="rect">
                <a:avLst/>
              </a:prstGeom>
            </p:spPr>
          </p:pic>
        </p:grp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EC5475AF-D16E-2488-5083-D3DFBDAB4335}"/>
                </a:ext>
              </a:extLst>
            </p:cNvPr>
            <p:cNvGrpSpPr/>
            <p:nvPr/>
          </p:nvGrpSpPr>
          <p:grpSpPr>
            <a:xfrm>
              <a:off x="6358198" y="5287720"/>
              <a:ext cx="192750" cy="196946"/>
              <a:chOff x="6358198" y="5287720"/>
              <a:chExt cx="192750" cy="196946"/>
            </a:xfrm>
          </p:grpSpPr>
          <p:sp>
            <p:nvSpPr>
              <p:cNvPr id="90" name="Freeform 2467">
                <a:extLst>
                  <a:ext uri="{FF2B5EF4-FFF2-40B4-BE49-F238E27FC236}">
                    <a16:creationId xmlns:a16="http://schemas.microsoft.com/office/drawing/2014/main" id="{AA984FF0-9DE8-58C4-42FD-40CF811B157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91" name="Ellipse 90">
                <a:extLst>
                  <a:ext uri="{FF2B5EF4-FFF2-40B4-BE49-F238E27FC236}">
                    <a16:creationId xmlns:a16="http://schemas.microsoft.com/office/drawing/2014/main" id="{329D1621-1CFC-DA9F-69FE-6CD9C0178FCF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98889952-ADB1-7E9D-D970-96963F022FD9}"/>
                </a:ext>
              </a:extLst>
            </p:cNvPr>
            <p:cNvGrpSpPr/>
            <p:nvPr/>
          </p:nvGrpSpPr>
          <p:grpSpPr>
            <a:xfrm>
              <a:off x="6358198" y="5005542"/>
              <a:ext cx="192750" cy="196946"/>
              <a:chOff x="6358198" y="5287720"/>
              <a:chExt cx="192750" cy="196946"/>
            </a:xfrm>
          </p:grpSpPr>
          <p:sp>
            <p:nvSpPr>
              <p:cNvPr id="105" name="Freeform 2467">
                <a:extLst>
                  <a:ext uri="{FF2B5EF4-FFF2-40B4-BE49-F238E27FC236}">
                    <a16:creationId xmlns:a16="http://schemas.microsoft.com/office/drawing/2014/main" id="{AADD2A16-A679-9FCF-5324-117C11BFC09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06" name="Ellipse 105">
                <a:extLst>
                  <a:ext uri="{FF2B5EF4-FFF2-40B4-BE49-F238E27FC236}">
                    <a16:creationId xmlns:a16="http://schemas.microsoft.com/office/drawing/2014/main" id="{EA54C553-CB43-C44A-4C2B-456E726F59B7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E13853FF-66AD-8145-B39B-B74B94BFE077}"/>
                </a:ext>
              </a:extLst>
            </p:cNvPr>
            <p:cNvGrpSpPr/>
            <p:nvPr/>
          </p:nvGrpSpPr>
          <p:grpSpPr>
            <a:xfrm>
              <a:off x="6644274" y="5287720"/>
              <a:ext cx="192750" cy="196946"/>
              <a:chOff x="6358198" y="5287720"/>
              <a:chExt cx="192750" cy="196946"/>
            </a:xfrm>
          </p:grpSpPr>
          <p:sp>
            <p:nvSpPr>
              <p:cNvPr id="108" name="Freeform 2467">
                <a:extLst>
                  <a:ext uri="{FF2B5EF4-FFF2-40B4-BE49-F238E27FC236}">
                    <a16:creationId xmlns:a16="http://schemas.microsoft.com/office/drawing/2014/main" id="{43A5D814-C718-8B79-799B-365BBF9B277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09" name="Ellipse 108">
                <a:extLst>
                  <a:ext uri="{FF2B5EF4-FFF2-40B4-BE49-F238E27FC236}">
                    <a16:creationId xmlns:a16="http://schemas.microsoft.com/office/drawing/2014/main" id="{3EBA9040-0C4D-3CBF-60A4-2639C8345DA9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14" name="Gruppieren 113">
              <a:extLst>
                <a:ext uri="{FF2B5EF4-FFF2-40B4-BE49-F238E27FC236}">
                  <a16:creationId xmlns:a16="http://schemas.microsoft.com/office/drawing/2014/main" id="{63CEE0DF-A596-9F51-6ECD-20B0BFACC388}"/>
                </a:ext>
              </a:extLst>
            </p:cNvPr>
            <p:cNvGrpSpPr/>
            <p:nvPr/>
          </p:nvGrpSpPr>
          <p:grpSpPr>
            <a:xfrm>
              <a:off x="6354944" y="5574893"/>
              <a:ext cx="192750" cy="196946"/>
              <a:chOff x="6358198" y="5287720"/>
              <a:chExt cx="192750" cy="196946"/>
            </a:xfrm>
          </p:grpSpPr>
          <p:sp>
            <p:nvSpPr>
              <p:cNvPr id="115" name="Freeform 2467">
                <a:extLst>
                  <a:ext uri="{FF2B5EF4-FFF2-40B4-BE49-F238E27FC236}">
                    <a16:creationId xmlns:a16="http://schemas.microsoft.com/office/drawing/2014/main" id="{76DFEC40-3AFB-BCBF-8E6A-D6FA89CAC8D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16" name="Ellipse 115">
                <a:extLst>
                  <a:ext uri="{FF2B5EF4-FFF2-40B4-BE49-F238E27FC236}">
                    <a16:creationId xmlns:a16="http://schemas.microsoft.com/office/drawing/2014/main" id="{20B6C323-E895-BA4D-9363-C81C143C4888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282F90BA-BF24-3151-CE07-3A3B900DCB1B}"/>
                </a:ext>
              </a:extLst>
            </p:cNvPr>
            <p:cNvSpPr txBox="1"/>
            <p:nvPr/>
          </p:nvSpPr>
          <p:spPr>
            <a:xfrm>
              <a:off x="4216007" y="4704147"/>
              <a:ext cx="19846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Benefits</a:t>
              </a:r>
              <a:endParaRPr lang="de-DE" sz="1000" dirty="0">
                <a:solidFill>
                  <a:schemeClr val="hlink"/>
                </a:solidFill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D70E1BA8-AE6F-A45D-1E68-4502C96E2625}"/>
              </a:ext>
            </a:extLst>
          </p:cNvPr>
          <p:cNvSpPr txBox="1"/>
          <p:nvPr/>
        </p:nvSpPr>
        <p:spPr bwMode="gray">
          <a:xfrm>
            <a:off x="532568" y="1491165"/>
            <a:ext cx="3218907" cy="4681426"/>
          </a:xfrm>
          <a:prstGeom prst="rect">
            <a:avLst/>
          </a:prstGeom>
          <a:noFill/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endParaRPr lang="de-DE" sz="1400" b="1" kern="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EC9BC71-022D-5AD0-595D-0ACEFEBE8AD4}"/>
              </a:ext>
            </a:extLst>
          </p:cNvPr>
          <p:cNvSpPr txBox="1"/>
          <p:nvPr/>
        </p:nvSpPr>
        <p:spPr bwMode="gray">
          <a:xfrm>
            <a:off x="535257" y="1491165"/>
            <a:ext cx="3216218" cy="271846"/>
          </a:xfrm>
          <a:prstGeom prst="rect">
            <a:avLst/>
          </a:prstGeom>
          <a:gradFill flip="none" rotWithShape="1">
            <a:gsLst>
              <a:gs pos="0">
                <a:srgbClr val="E9EEF1"/>
              </a:gs>
              <a:gs pos="40000">
                <a:srgbClr val="53748E"/>
              </a:gs>
            </a:gsLst>
            <a:lin ang="10800000" scaled="1"/>
            <a:tileRect/>
          </a:gradFill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r>
              <a:rPr lang="de-DE" sz="1400" b="1" kern="0" dirty="0">
                <a:solidFill>
                  <a:schemeClr val="bg1"/>
                </a:solidFill>
                <a:latin typeface="Segoe UI"/>
              </a:rPr>
              <a:t>Ausbaustufe 1</a:t>
            </a:r>
          </a:p>
        </p:txBody>
      </p: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B487121B-C6BD-8605-674F-3992CCDB36E2}"/>
              </a:ext>
            </a:extLst>
          </p:cNvPr>
          <p:cNvGrpSpPr/>
          <p:nvPr/>
        </p:nvGrpSpPr>
        <p:grpSpPr>
          <a:xfrm>
            <a:off x="603860" y="4704147"/>
            <a:ext cx="2386569" cy="1101630"/>
            <a:chOff x="603860" y="4704147"/>
            <a:chExt cx="2386569" cy="1101630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FB77E34D-4149-F3D0-D845-C869B6920E4E}"/>
                </a:ext>
              </a:extLst>
            </p:cNvPr>
            <p:cNvSpPr txBox="1"/>
            <p:nvPr/>
          </p:nvSpPr>
          <p:spPr>
            <a:xfrm>
              <a:off x="603860" y="4704147"/>
              <a:ext cx="19846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Benefits</a:t>
              </a:r>
              <a:endParaRPr lang="de-DE" sz="1000" dirty="0">
                <a:solidFill>
                  <a:schemeClr val="hlink"/>
                </a:solidFill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CF566757-0027-83D5-297D-169A06E9D783}"/>
                </a:ext>
              </a:extLst>
            </p:cNvPr>
            <p:cNvGrpSpPr/>
            <p:nvPr/>
          </p:nvGrpSpPr>
          <p:grpSpPr>
            <a:xfrm>
              <a:off x="1030327" y="4952534"/>
              <a:ext cx="1960102" cy="853243"/>
              <a:chOff x="1030327" y="4297270"/>
              <a:chExt cx="1960102" cy="853243"/>
            </a:xfrm>
          </p:grpSpPr>
          <p:grpSp>
            <p:nvGrpSpPr>
              <p:cNvPr id="47" name="Gruppieren 46">
                <a:extLst>
                  <a:ext uri="{FF2B5EF4-FFF2-40B4-BE49-F238E27FC236}">
                    <a16:creationId xmlns:a16="http://schemas.microsoft.com/office/drawing/2014/main" id="{C8787A0B-D77C-1DDB-03D3-A649021EB654}"/>
                  </a:ext>
                </a:extLst>
              </p:cNvPr>
              <p:cNvGrpSpPr/>
              <p:nvPr/>
            </p:nvGrpSpPr>
            <p:grpSpPr>
              <a:xfrm>
                <a:off x="1030327" y="4297270"/>
                <a:ext cx="1482363" cy="853243"/>
                <a:chOff x="1030327" y="4297270"/>
                <a:chExt cx="1482363" cy="853243"/>
              </a:xfrm>
            </p:grpSpPr>
            <p:sp>
              <p:nvSpPr>
                <p:cNvPr id="54" name="Textfeld 53">
                  <a:extLst>
                    <a:ext uri="{FF2B5EF4-FFF2-40B4-BE49-F238E27FC236}">
                      <a16:creationId xmlns:a16="http://schemas.microsoft.com/office/drawing/2014/main" id="{DB8BE221-5CE3-FC48-483E-4F299915434F}"/>
                    </a:ext>
                  </a:extLst>
                </p:cNvPr>
                <p:cNvSpPr txBox="1"/>
                <p:nvPr/>
              </p:nvSpPr>
              <p:spPr>
                <a:xfrm>
                  <a:off x="1400882" y="4938229"/>
                  <a:ext cx="1111808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Bedarfsgesteuert</a:t>
                  </a:r>
                </a:p>
              </p:txBody>
            </p:sp>
            <p:sp>
              <p:nvSpPr>
                <p:cNvPr id="55" name="Textfeld 54">
                  <a:extLst>
                    <a:ext uri="{FF2B5EF4-FFF2-40B4-BE49-F238E27FC236}">
                      <a16:creationId xmlns:a16="http://schemas.microsoft.com/office/drawing/2014/main" id="{3FCA6787-F574-5F0D-3B12-8C1F469881A7}"/>
                    </a:ext>
                  </a:extLst>
                </p:cNvPr>
                <p:cNvSpPr txBox="1"/>
                <p:nvPr/>
              </p:nvSpPr>
              <p:spPr>
                <a:xfrm>
                  <a:off x="1396747" y="4638091"/>
                  <a:ext cx="1047570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Geschwindigkeit</a:t>
                  </a:r>
                </a:p>
              </p:txBody>
            </p:sp>
            <p:sp>
              <p:nvSpPr>
                <p:cNvPr id="56" name="Textfeld 55">
                  <a:extLst>
                    <a:ext uri="{FF2B5EF4-FFF2-40B4-BE49-F238E27FC236}">
                      <a16:creationId xmlns:a16="http://schemas.microsoft.com/office/drawing/2014/main" id="{01171C36-7358-523E-3E6B-6BF6EA10EC1B}"/>
                    </a:ext>
                  </a:extLst>
                </p:cNvPr>
                <p:cNvSpPr txBox="1"/>
                <p:nvPr/>
              </p:nvSpPr>
              <p:spPr>
                <a:xfrm>
                  <a:off x="1394850" y="4337953"/>
                  <a:ext cx="1031423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Transparenz</a:t>
                  </a:r>
                </a:p>
              </p:txBody>
            </p:sp>
            <p:pic>
              <p:nvPicPr>
                <p:cNvPr id="57" name="Grafik 56" descr="Recherche">
                  <a:extLst>
                    <a:ext uri="{FF2B5EF4-FFF2-40B4-BE49-F238E27FC236}">
                      <a16:creationId xmlns:a16="http://schemas.microsoft.com/office/drawing/2014/main" id="{1862B110-2417-20B9-D198-0BBAF609AB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9120" y="4297270"/>
                  <a:ext cx="235254" cy="235254"/>
                </a:xfrm>
                <a:prstGeom prst="rect">
                  <a:avLst/>
                </a:prstGeom>
              </p:spPr>
            </p:pic>
            <p:pic>
              <p:nvPicPr>
                <p:cNvPr id="58" name="Grafik 57" descr="Messgerät">
                  <a:extLst>
                    <a:ext uri="{FF2B5EF4-FFF2-40B4-BE49-F238E27FC236}">
                      <a16:creationId xmlns:a16="http://schemas.microsoft.com/office/drawing/2014/main" id="{CB2EA38F-D929-5C8E-912A-781CA6C61F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2553" y="4574006"/>
                  <a:ext cx="235254" cy="235254"/>
                </a:xfrm>
                <a:prstGeom prst="rect">
                  <a:avLst/>
                </a:prstGeom>
              </p:spPr>
            </p:pic>
            <p:pic>
              <p:nvPicPr>
                <p:cNvPr id="59" name="Grafik 58" descr="Kreise mit Pfeilen">
                  <a:extLst>
                    <a:ext uri="{FF2B5EF4-FFF2-40B4-BE49-F238E27FC236}">
                      <a16:creationId xmlns:a16="http://schemas.microsoft.com/office/drawing/2014/main" id="{909E8A71-F178-BC5E-8AAE-524114460A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0327" y="4847098"/>
                  <a:ext cx="303415" cy="303415"/>
                </a:xfrm>
                <a:prstGeom prst="rect">
                  <a:avLst/>
                </a:prstGeom>
              </p:spPr>
            </p:pic>
          </p:grpSp>
          <p:sp>
            <p:nvSpPr>
              <p:cNvPr id="48" name="Freeform 2467">
                <a:extLst>
                  <a:ext uri="{FF2B5EF4-FFF2-40B4-BE49-F238E27FC236}">
                    <a16:creationId xmlns:a16="http://schemas.microsoft.com/office/drawing/2014/main" id="{6E5062B1-8F20-68CB-B034-DC748B2E40B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2821272" y="4665105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A9F7EB45-F490-9A4B-6D9F-43B13BE67E7C}"/>
                  </a:ext>
                </a:extLst>
              </p:cNvPr>
              <p:cNvSpPr/>
              <p:nvPr/>
            </p:nvSpPr>
            <p:spPr>
              <a:xfrm>
                <a:off x="2776575" y="4623162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9FE9C6A6-3C62-CE21-700B-3AC76B3EA7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5007407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0C6484E1-CD10-9C7D-1C18-AC490771AE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5059794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B8510A3B-893A-65CD-1513-C21BA617E2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4381847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EB703026-9AAB-BB3E-DA4A-99C4016158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4434234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44ABD28-4C51-2A74-AC39-14DE6AB7B499}"/>
              </a:ext>
            </a:extLst>
          </p:cNvPr>
          <p:cNvGrpSpPr/>
          <p:nvPr/>
        </p:nvGrpSpPr>
        <p:grpSpPr>
          <a:xfrm>
            <a:off x="603860" y="3003286"/>
            <a:ext cx="2788651" cy="1479698"/>
            <a:chOff x="603860" y="3003286"/>
            <a:chExt cx="2788651" cy="1479698"/>
          </a:xfrm>
        </p:grpSpPr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155299C4-9A24-B622-1025-62F208BC95B2}"/>
                </a:ext>
              </a:extLst>
            </p:cNvPr>
            <p:cNvSpPr/>
            <p:nvPr/>
          </p:nvSpPr>
          <p:spPr>
            <a:xfrm>
              <a:off x="105811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F86AB78D-C71C-3E1E-A190-3366F854A210}"/>
                </a:ext>
              </a:extLst>
            </p:cNvPr>
            <p:cNvSpPr/>
            <p:nvPr/>
          </p:nvSpPr>
          <p:spPr>
            <a:xfrm>
              <a:off x="1156691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6C1AED81-5F9B-60AE-3CB0-B55654761375}"/>
                </a:ext>
              </a:extLst>
            </p:cNvPr>
            <p:cNvSpPr/>
            <p:nvPr/>
          </p:nvSpPr>
          <p:spPr>
            <a:xfrm>
              <a:off x="1234717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38A26637-A793-4D1C-B2B7-E66055E68711}"/>
                </a:ext>
              </a:extLst>
            </p:cNvPr>
            <p:cNvSpPr/>
            <p:nvPr/>
          </p:nvSpPr>
          <p:spPr>
            <a:xfrm>
              <a:off x="1334203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06DA8491-9D53-D1B7-5BFF-E1AC85221CD6}"/>
                </a:ext>
              </a:extLst>
            </p:cNvPr>
            <p:cNvSpPr/>
            <p:nvPr/>
          </p:nvSpPr>
          <p:spPr>
            <a:xfrm>
              <a:off x="1411318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4DD270F7-FB34-33C6-50A2-74A6EC8A9205}"/>
                </a:ext>
              </a:extLst>
            </p:cNvPr>
            <p:cNvSpPr/>
            <p:nvPr/>
          </p:nvSpPr>
          <p:spPr>
            <a:xfrm>
              <a:off x="1842434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05C24279-04D5-B999-BD92-2EE32D868644}"/>
                </a:ext>
              </a:extLst>
            </p:cNvPr>
            <p:cNvSpPr/>
            <p:nvPr/>
          </p:nvSpPr>
          <p:spPr>
            <a:xfrm>
              <a:off x="1941009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7" name="Rechteck: abgerundete Ecken 26">
              <a:extLst>
                <a:ext uri="{FF2B5EF4-FFF2-40B4-BE49-F238E27FC236}">
                  <a16:creationId xmlns:a16="http://schemas.microsoft.com/office/drawing/2014/main" id="{2EEF89C4-92E3-FBEF-2E2D-3A3E0B44CBE7}"/>
                </a:ext>
              </a:extLst>
            </p:cNvPr>
            <p:cNvSpPr/>
            <p:nvPr/>
          </p:nvSpPr>
          <p:spPr>
            <a:xfrm>
              <a:off x="2019035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42AC83B7-875C-E977-A409-9BCBA0A659B9}"/>
                </a:ext>
              </a:extLst>
            </p:cNvPr>
            <p:cNvSpPr/>
            <p:nvPr/>
          </p:nvSpPr>
          <p:spPr>
            <a:xfrm>
              <a:off x="2118521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9" name="Rechteck: abgerundete Ecken 28">
              <a:extLst>
                <a:ext uri="{FF2B5EF4-FFF2-40B4-BE49-F238E27FC236}">
                  <a16:creationId xmlns:a16="http://schemas.microsoft.com/office/drawing/2014/main" id="{1A8671AC-905E-141B-3F11-0D44A40AC0A5}"/>
                </a:ext>
              </a:extLst>
            </p:cNvPr>
            <p:cNvSpPr/>
            <p:nvPr/>
          </p:nvSpPr>
          <p:spPr>
            <a:xfrm>
              <a:off x="219563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02F71979-E977-78E0-275F-52EC0B53589B}"/>
                </a:ext>
              </a:extLst>
            </p:cNvPr>
            <p:cNvSpPr/>
            <p:nvPr/>
          </p:nvSpPr>
          <p:spPr>
            <a:xfrm>
              <a:off x="2624984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DAC3BCC4-8C50-EDBB-DA18-97D709D3C178}"/>
                </a:ext>
              </a:extLst>
            </p:cNvPr>
            <p:cNvSpPr/>
            <p:nvPr/>
          </p:nvSpPr>
          <p:spPr>
            <a:xfrm>
              <a:off x="2723559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2" name="Rechteck: abgerundete Ecken 31">
              <a:extLst>
                <a:ext uri="{FF2B5EF4-FFF2-40B4-BE49-F238E27FC236}">
                  <a16:creationId xmlns:a16="http://schemas.microsoft.com/office/drawing/2014/main" id="{0A7BF23B-34E5-E292-0B6A-7DC3F29B0DE4}"/>
                </a:ext>
              </a:extLst>
            </p:cNvPr>
            <p:cNvSpPr/>
            <p:nvPr/>
          </p:nvSpPr>
          <p:spPr>
            <a:xfrm>
              <a:off x="2801585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BE188821-4F2C-FA60-A9C5-DCC5650EFB8F}"/>
                </a:ext>
              </a:extLst>
            </p:cNvPr>
            <p:cNvSpPr/>
            <p:nvPr/>
          </p:nvSpPr>
          <p:spPr>
            <a:xfrm>
              <a:off x="2901071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4" name="Rechteck: abgerundete Ecken 33">
              <a:extLst>
                <a:ext uri="{FF2B5EF4-FFF2-40B4-BE49-F238E27FC236}">
                  <a16:creationId xmlns:a16="http://schemas.microsoft.com/office/drawing/2014/main" id="{3635C606-7707-172A-3806-776863AECE73}"/>
                </a:ext>
              </a:extLst>
            </p:cNvPr>
            <p:cNvSpPr/>
            <p:nvPr/>
          </p:nvSpPr>
          <p:spPr>
            <a:xfrm>
              <a:off x="297818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5" name="Pfeil: nach unten gekrümmt 34">
              <a:extLst>
                <a:ext uri="{FF2B5EF4-FFF2-40B4-BE49-F238E27FC236}">
                  <a16:creationId xmlns:a16="http://schemas.microsoft.com/office/drawing/2014/main" id="{5EFF90C4-9811-10B9-7FBE-14CE9481BF19}"/>
                </a:ext>
              </a:extLst>
            </p:cNvPr>
            <p:cNvSpPr/>
            <p:nvPr/>
          </p:nvSpPr>
          <p:spPr>
            <a:xfrm>
              <a:off x="1531733" y="4088649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Pfeil: nach unten gekrümmt 35">
              <a:extLst>
                <a:ext uri="{FF2B5EF4-FFF2-40B4-BE49-F238E27FC236}">
                  <a16:creationId xmlns:a16="http://schemas.microsoft.com/office/drawing/2014/main" id="{7A80229B-F00E-4375-3D6E-08F4EC732DAD}"/>
                </a:ext>
              </a:extLst>
            </p:cNvPr>
            <p:cNvSpPr/>
            <p:nvPr/>
          </p:nvSpPr>
          <p:spPr>
            <a:xfrm>
              <a:off x="2334031" y="4088649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16D1FE81-F838-8A81-2439-527B58B1A326}"/>
                </a:ext>
              </a:extLst>
            </p:cNvPr>
            <p:cNvSpPr/>
            <p:nvPr/>
          </p:nvSpPr>
          <p:spPr>
            <a:xfrm>
              <a:off x="1059154" y="3697912"/>
              <a:ext cx="1741440" cy="180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79CB8919-73BF-06CE-6548-0A84C192E2F6}"/>
                </a:ext>
              </a:extLst>
            </p:cNvPr>
            <p:cNvSpPr/>
            <p:nvPr/>
          </p:nvSpPr>
          <p:spPr>
            <a:xfrm>
              <a:off x="1001763" y="3394497"/>
              <a:ext cx="1800000" cy="180000"/>
            </a:xfrm>
            <a:prstGeom prst="rect">
              <a:avLst/>
            </a:prstGeom>
            <a:solidFill>
              <a:srgbClr val="999999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r>
                <a:rPr lang="de-DE" sz="1000" b="1" dirty="0"/>
                <a:t>Ø alle 30 min</a:t>
              </a: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AB64D73-E031-0D24-09B6-50189922D93C}"/>
                </a:ext>
              </a:extLst>
            </p:cNvPr>
            <p:cNvSpPr/>
            <p:nvPr/>
          </p:nvSpPr>
          <p:spPr>
            <a:xfrm>
              <a:off x="1000594" y="3697947"/>
              <a:ext cx="900000" cy="179965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endParaRPr lang="de-DE" sz="1000" b="1" dirty="0"/>
            </a:p>
          </p:txBody>
        </p: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8CD73677-D617-0F43-5F55-CFF8E17746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0593" y="3271236"/>
              <a:ext cx="1169" cy="744575"/>
            </a:xfrm>
            <a:prstGeom prst="line">
              <a:avLst/>
            </a:prstGeom>
            <a:ln w="38100" cap="flat" cmpd="sng" algn="ctr">
              <a:solidFill>
                <a:schemeClr val="hlink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Verbinder: gewinkelt 41">
              <a:extLst>
                <a:ext uri="{FF2B5EF4-FFF2-40B4-BE49-F238E27FC236}">
                  <a16:creationId xmlns:a16="http://schemas.microsoft.com/office/drawing/2014/main" id="{80B2EE34-F696-FBF0-B941-F7368FC1E422}"/>
                </a:ext>
              </a:extLst>
            </p:cNvPr>
            <p:cNvCxnSpPr>
              <a:stCxn id="39" idx="3"/>
              <a:endCxn id="38" idx="3"/>
            </p:cNvCxnSpPr>
            <p:nvPr/>
          </p:nvCxnSpPr>
          <p:spPr>
            <a:xfrm flipH="1">
              <a:off x="2800594" y="3484497"/>
              <a:ext cx="1169" cy="303415"/>
            </a:xfrm>
            <a:prstGeom prst="bentConnector3">
              <a:avLst>
                <a:gd name="adj1" fmla="val -14666382"/>
              </a:avLst>
            </a:prstGeom>
            <a:ln w="19050" cap="flat" cmpd="sng" algn="ctr">
              <a:solidFill>
                <a:schemeClr val="hlink"/>
              </a:solidFill>
              <a:prstDash val="solid"/>
              <a:miter lim="800000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E5D0E40D-88E8-9D3F-A033-4FEB922DA6F5}"/>
                </a:ext>
              </a:extLst>
            </p:cNvPr>
            <p:cNvSpPr txBox="1"/>
            <p:nvPr/>
          </p:nvSpPr>
          <p:spPr>
            <a:xfrm>
              <a:off x="1071066" y="3716012"/>
              <a:ext cx="90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000" b="1" dirty="0"/>
                <a:t>Ø alle 15 min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63AC2C73-5F65-EDCB-791E-5B4D92969704}"/>
                </a:ext>
              </a:extLst>
            </p:cNvPr>
            <p:cNvSpPr txBox="1"/>
            <p:nvPr/>
          </p:nvSpPr>
          <p:spPr>
            <a:xfrm>
              <a:off x="2826028" y="3562799"/>
              <a:ext cx="566483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dirty="0">
                  <a:solidFill>
                    <a:schemeClr val="accent6"/>
                  </a:solidFill>
                </a:rPr>
                <a:t>- 50 %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DB0EB7B-1742-DB3E-FCF9-229AF9718C56}"/>
                </a:ext>
              </a:extLst>
            </p:cNvPr>
            <p:cNvSpPr txBox="1"/>
            <p:nvPr/>
          </p:nvSpPr>
          <p:spPr>
            <a:xfrm>
              <a:off x="3016815" y="3766989"/>
              <a:ext cx="26663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800" dirty="0">
                  <a:solidFill>
                    <a:srgbClr val="707070"/>
                  </a:solidFill>
                </a:rPr>
                <a:t>neu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2D94117C-8236-C49A-1763-D1B1B87B849E}"/>
                </a:ext>
              </a:extLst>
            </p:cNvPr>
            <p:cNvSpPr txBox="1"/>
            <p:nvPr/>
          </p:nvSpPr>
          <p:spPr>
            <a:xfrm>
              <a:off x="3016815" y="3386056"/>
              <a:ext cx="26663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800" dirty="0">
                  <a:solidFill>
                    <a:srgbClr val="707070"/>
                  </a:solidFill>
                </a:rPr>
                <a:t>alt</a:t>
              </a:r>
            </a:p>
          </p:txBody>
        </p:sp>
        <p:sp>
          <p:nvSpPr>
            <p:cNvPr id="118" name="Textfeld 117">
              <a:extLst>
                <a:ext uri="{FF2B5EF4-FFF2-40B4-BE49-F238E27FC236}">
                  <a16:creationId xmlns:a16="http://schemas.microsoft.com/office/drawing/2014/main" id="{29CECACE-5AD8-894C-FFBF-521064AE12BA}"/>
                </a:ext>
              </a:extLst>
            </p:cNvPr>
            <p:cNvSpPr txBox="1"/>
            <p:nvPr/>
          </p:nvSpPr>
          <p:spPr>
            <a:xfrm>
              <a:off x="603860" y="3003286"/>
              <a:ext cx="231889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Transportintervall</a:t>
              </a: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E7A8BE43-4869-DE8F-EFB8-08BDAD325DE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61941" y="1767512"/>
            <a:ext cx="2176030" cy="1575129"/>
          </a:xfrm>
          <a:prstGeom prst="rect">
            <a:avLst/>
          </a:prstGeom>
        </p:spPr>
      </p:pic>
      <p:pic>
        <p:nvPicPr>
          <p:cNvPr id="162" name="Grafik 161">
            <a:extLst>
              <a:ext uri="{FF2B5EF4-FFF2-40B4-BE49-F238E27FC236}">
                <a16:creationId xmlns:a16="http://schemas.microsoft.com/office/drawing/2014/main" id="{11C4ABF1-0A45-1609-0000-DB4F11E33C1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003492" y="1763011"/>
            <a:ext cx="2167114" cy="1568676"/>
          </a:xfrm>
          <a:prstGeom prst="rect">
            <a:avLst/>
          </a:prstGeom>
        </p:spPr>
      </p:pic>
      <p:pic>
        <p:nvPicPr>
          <p:cNvPr id="166" name="Grafik 165">
            <a:extLst>
              <a:ext uri="{FF2B5EF4-FFF2-40B4-BE49-F238E27FC236}">
                <a16:creationId xmlns:a16="http://schemas.microsoft.com/office/drawing/2014/main" id="{9B677859-2808-7B9D-F1E7-8C3B201AE6F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2572" y="1510625"/>
            <a:ext cx="2838898" cy="205495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EEEB45D-CC6D-B939-D363-22521352FB22}"/>
              </a:ext>
            </a:extLst>
          </p:cNvPr>
          <p:cNvSpPr/>
          <p:nvPr/>
        </p:nvSpPr>
        <p:spPr>
          <a:xfrm rot="602340">
            <a:off x="7140851" y="1309787"/>
            <a:ext cx="1235435" cy="847577"/>
          </a:xfrm>
          <a:prstGeom prst="rect">
            <a:avLst/>
          </a:prstGeom>
          <a:solidFill>
            <a:schemeClr val="bg1"/>
          </a:solidFill>
          <a:ln w="22225">
            <a:gradFill flip="none" rotWithShape="1">
              <a:gsLst>
                <a:gs pos="0">
                  <a:schemeClr val="bg1"/>
                </a:gs>
                <a:gs pos="25000">
                  <a:schemeClr val="accent6"/>
                </a:gs>
                <a:gs pos="85000">
                  <a:schemeClr val="accent6"/>
                </a:gs>
                <a:gs pos="100000">
                  <a:schemeClr val="bg1"/>
                </a:gs>
              </a:gsLst>
              <a:lin ang="81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000" dirty="0">
                <a:solidFill>
                  <a:schemeClr val="accent6"/>
                </a:solidFill>
              </a:rPr>
              <a:t>Eingesetzt seit</a:t>
            </a:r>
          </a:p>
          <a:p>
            <a:pPr algn="ctr"/>
            <a:r>
              <a:rPr lang="de-DE" dirty="0">
                <a:solidFill>
                  <a:schemeClr val="accent6"/>
                </a:solidFill>
              </a:rPr>
              <a:t>2023</a:t>
            </a:r>
            <a:endParaRPr lang="de-DE" sz="10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9139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A79ADB0-4697-6A80-5B75-4D35B261F1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A79ADB0-4697-6A80-5B75-4D35B261F1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19EAB5-0E3E-A84A-4F2C-EBD9862613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5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6E4947-455E-BB41-5568-B698DAB1D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Lena Dörfler | TW Production </a:t>
            </a:r>
            <a:r>
              <a:rPr lang="en-US" dirty="0" err="1"/>
              <a:t>Punchingtools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54DE1FA-BFA3-9A34-A48F-55F575BF1C8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56312-534A-DACD-AE91-A2F8C3258A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AMRs in Gerling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CA25182-3304-BD64-3B77-9E6A2869D3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Unterschiedliche Ausbaustufen nach Entwicklungsstufen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A2B0A868-E0BE-CBE9-27F2-1F38018DCB2D}"/>
              </a:ext>
            </a:extLst>
          </p:cNvPr>
          <p:cNvSpPr txBox="1"/>
          <p:nvPr/>
        </p:nvSpPr>
        <p:spPr bwMode="gray">
          <a:xfrm>
            <a:off x="4118042" y="1491165"/>
            <a:ext cx="3218907" cy="4681426"/>
          </a:xfrm>
          <a:prstGeom prst="rect">
            <a:avLst/>
          </a:prstGeom>
          <a:noFill/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endParaRPr lang="de-DE" sz="1400" b="1" kern="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43C7AB66-3912-2731-843B-27275FBBD9EF}"/>
              </a:ext>
            </a:extLst>
          </p:cNvPr>
          <p:cNvSpPr txBox="1"/>
          <p:nvPr/>
        </p:nvSpPr>
        <p:spPr bwMode="gray">
          <a:xfrm>
            <a:off x="4118042" y="1491165"/>
            <a:ext cx="3216218" cy="271846"/>
          </a:xfrm>
          <a:prstGeom prst="rect">
            <a:avLst/>
          </a:prstGeom>
          <a:gradFill flip="none" rotWithShape="1">
            <a:gsLst>
              <a:gs pos="0">
                <a:srgbClr val="E9EEF1"/>
              </a:gs>
              <a:gs pos="40000">
                <a:srgbClr val="53748E"/>
              </a:gs>
            </a:gsLst>
            <a:lin ang="10800000" scaled="1"/>
            <a:tileRect/>
          </a:gradFill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r>
              <a:rPr lang="de-DE" sz="1400" b="1" kern="0" dirty="0">
                <a:solidFill>
                  <a:schemeClr val="bg1"/>
                </a:solidFill>
                <a:latin typeface="Segoe UI"/>
              </a:rPr>
              <a:t>Ausbaustufe 2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9388BD2-B1E7-6A16-F0D3-EAE1AB55B2D8}"/>
              </a:ext>
            </a:extLst>
          </p:cNvPr>
          <p:cNvGrpSpPr/>
          <p:nvPr/>
        </p:nvGrpSpPr>
        <p:grpSpPr>
          <a:xfrm>
            <a:off x="4216007" y="3003286"/>
            <a:ext cx="2762106" cy="1480500"/>
            <a:chOff x="4216007" y="3003286"/>
            <a:chExt cx="2762106" cy="1480500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7C17A9A8-3759-FD7E-302E-6236424E4B95}"/>
                </a:ext>
              </a:extLst>
            </p:cNvPr>
            <p:cNvSpPr txBox="1"/>
            <p:nvPr/>
          </p:nvSpPr>
          <p:spPr>
            <a:xfrm>
              <a:off x="4216007" y="3003286"/>
              <a:ext cx="231889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Transportintervall</a:t>
              </a:r>
            </a:p>
          </p:txBody>
        </p:sp>
        <p:sp>
          <p:nvSpPr>
            <p:cNvPr id="70" name="Rechteck: abgerundete Ecken 69">
              <a:extLst>
                <a:ext uri="{FF2B5EF4-FFF2-40B4-BE49-F238E27FC236}">
                  <a16:creationId xmlns:a16="http://schemas.microsoft.com/office/drawing/2014/main" id="{CB544F04-30AA-67A5-7DD6-105CAFED0C5F}"/>
                </a:ext>
              </a:extLst>
            </p:cNvPr>
            <p:cNvSpPr/>
            <p:nvPr/>
          </p:nvSpPr>
          <p:spPr>
            <a:xfrm>
              <a:off x="4662487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1" name="Rechteck: abgerundete Ecken 70">
              <a:extLst>
                <a:ext uri="{FF2B5EF4-FFF2-40B4-BE49-F238E27FC236}">
                  <a16:creationId xmlns:a16="http://schemas.microsoft.com/office/drawing/2014/main" id="{C02A0AF5-1ABF-A905-ABA8-6C68B7EFD5D1}"/>
                </a:ext>
              </a:extLst>
            </p:cNvPr>
            <p:cNvSpPr/>
            <p:nvPr/>
          </p:nvSpPr>
          <p:spPr>
            <a:xfrm>
              <a:off x="4839088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2" name="Rechteck: abgerundete Ecken 71">
              <a:extLst>
                <a:ext uri="{FF2B5EF4-FFF2-40B4-BE49-F238E27FC236}">
                  <a16:creationId xmlns:a16="http://schemas.microsoft.com/office/drawing/2014/main" id="{5EB19697-0575-2420-BECF-7F94F605D4D7}"/>
                </a:ext>
              </a:extLst>
            </p:cNvPr>
            <p:cNvSpPr/>
            <p:nvPr/>
          </p:nvSpPr>
          <p:spPr>
            <a:xfrm>
              <a:off x="5446805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3" name="Rechteck: abgerundete Ecken 72">
              <a:extLst>
                <a:ext uri="{FF2B5EF4-FFF2-40B4-BE49-F238E27FC236}">
                  <a16:creationId xmlns:a16="http://schemas.microsoft.com/office/drawing/2014/main" id="{399DFB99-4EED-2546-D9C4-9A944C113F48}"/>
                </a:ext>
              </a:extLst>
            </p:cNvPr>
            <p:cNvSpPr/>
            <p:nvPr/>
          </p:nvSpPr>
          <p:spPr>
            <a:xfrm>
              <a:off x="5623406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4" name="Rechteck: abgerundete Ecken 73">
              <a:extLst>
                <a:ext uri="{FF2B5EF4-FFF2-40B4-BE49-F238E27FC236}">
                  <a16:creationId xmlns:a16="http://schemas.microsoft.com/office/drawing/2014/main" id="{D449F2F8-C0C9-8288-BBF9-2B749C7CCA22}"/>
                </a:ext>
              </a:extLst>
            </p:cNvPr>
            <p:cNvSpPr/>
            <p:nvPr/>
          </p:nvSpPr>
          <p:spPr>
            <a:xfrm>
              <a:off x="6229355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5" name="Rechteck: abgerundete Ecken 74">
              <a:extLst>
                <a:ext uri="{FF2B5EF4-FFF2-40B4-BE49-F238E27FC236}">
                  <a16:creationId xmlns:a16="http://schemas.microsoft.com/office/drawing/2014/main" id="{B6606001-5637-765A-FED3-84D37AE1F1EA}"/>
                </a:ext>
              </a:extLst>
            </p:cNvPr>
            <p:cNvSpPr/>
            <p:nvPr/>
          </p:nvSpPr>
          <p:spPr>
            <a:xfrm>
              <a:off x="6405956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76" name="Pfeil: nach unten gekrümmt 75">
              <a:extLst>
                <a:ext uri="{FF2B5EF4-FFF2-40B4-BE49-F238E27FC236}">
                  <a16:creationId xmlns:a16="http://schemas.microsoft.com/office/drawing/2014/main" id="{6FE86CCF-89F7-E3DF-1E5E-1920EB358AFB}"/>
                </a:ext>
              </a:extLst>
            </p:cNvPr>
            <p:cNvSpPr/>
            <p:nvPr/>
          </p:nvSpPr>
          <p:spPr>
            <a:xfrm>
              <a:off x="5032212" y="4089451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Pfeil: nach unten gekrümmt 76">
              <a:extLst>
                <a:ext uri="{FF2B5EF4-FFF2-40B4-BE49-F238E27FC236}">
                  <a16:creationId xmlns:a16="http://schemas.microsoft.com/office/drawing/2014/main" id="{E235B0D6-0F3E-0360-0EE8-AF67B7485B90}"/>
                </a:ext>
              </a:extLst>
            </p:cNvPr>
            <p:cNvSpPr/>
            <p:nvPr/>
          </p:nvSpPr>
          <p:spPr>
            <a:xfrm>
              <a:off x="5834510" y="4089451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7A9DD612-4CF7-562D-ABD8-7076EA4F9DA7}"/>
                </a:ext>
              </a:extLst>
            </p:cNvPr>
            <p:cNvGrpSpPr/>
            <p:nvPr/>
          </p:nvGrpSpPr>
          <p:grpSpPr>
            <a:xfrm>
              <a:off x="4554943" y="3272038"/>
              <a:ext cx="2423170" cy="744575"/>
              <a:chOff x="4570282" y="2657917"/>
              <a:chExt cx="2423170" cy="744575"/>
            </a:xfrm>
          </p:grpSpPr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9A347854-54A9-40DC-4124-CFB963B1933F}"/>
                  </a:ext>
                </a:extLst>
              </p:cNvPr>
              <p:cNvSpPr/>
              <p:nvPr/>
            </p:nvSpPr>
            <p:spPr>
              <a:xfrm>
                <a:off x="4628843" y="3084593"/>
                <a:ext cx="1741440" cy="180000"/>
              </a:xfrm>
              <a:prstGeom prst="rect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Rechteck 79">
                <a:extLst>
                  <a:ext uri="{FF2B5EF4-FFF2-40B4-BE49-F238E27FC236}">
                    <a16:creationId xmlns:a16="http://schemas.microsoft.com/office/drawing/2014/main" id="{9D202BDC-18B8-46AA-CE3A-F6A64725C7AD}"/>
                  </a:ext>
                </a:extLst>
              </p:cNvPr>
              <p:cNvSpPr/>
              <p:nvPr/>
            </p:nvSpPr>
            <p:spPr>
              <a:xfrm>
                <a:off x="4571452" y="2781178"/>
                <a:ext cx="1800000" cy="180000"/>
              </a:xfrm>
              <a:prstGeom prst="rect">
                <a:avLst/>
              </a:prstGeom>
              <a:solidFill>
                <a:srgbClr val="999999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r>
                  <a:rPr lang="de-DE" sz="1000" b="1" dirty="0"/>
                  <a:t>Ø alle 30 min</a:t>
                </a: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7BD87F25-46CC-6A67-1BE8-843210BD9ABA}"/>
                  </a:ext>
                </a:extLst>
              </p:cNvPr>
              <p:cNvSpPr/>
              <p:nvPr/>
            </p:nvSpPr>
            <p:spPr>
              <a:xfrm>
                <a:off x="4570283" y="3084628"/>
                <a:ext cx="594000" cy="180000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endParaRPr lang="de-DE" sz="1000" b="1" dirty="0"/>
              </a:p>
            </p:txBody>
          </p:sp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C7AF584C-83FD-EDAD-BEAC-FC0E009345A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70282" y="2657917"/>
                <a:ext cx="1169" cy="744575"/>
              </a:xfrm>
              <a:prstGeom prst="line">
                <a:avLst/>
              </a:prstGeom>
              <a:ln w="38100" cap="flat" cmpd="sng" algn="ctr">
                <a:solidFill>
                  <a:schemeClr val="hlink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Verbinder: gewinkelt 82">
                <a:extLst>
                  <a:ext uri="{FF2B5EF4-FFF2-40B4-BE49-F238E27FC236}">
                    <a16:creationId xmlns:a16="http://schemas.microsoft.com/office/drawing/2014/main" id="{5E36ABCB-4459-4672-B698-6D4549289E01}"/>
                  </a:ext>
                </a:extLst>
              </p:cNvPr>
              <p:cNvCxnSpPr>
                <a:stCxn id="80" idx="3"/>
                <a:endCxn id="79" idx="3"/>
              </p:cNvCxnSpPr>
              <p:nvPr/>
            </p:nvCxnSpPr>
            <p:spPr>
              <a:xfrm flipH="1">
                <a:off x="6370283" y="2871178"/>
                <a:ext cx="1169" cy="303415"/>
              </a:xfrm>
              <a:prstGeom prst="bentConnector3">
                <a:avLst>
                  <a:gd name="adj1" fmla="val -14666382"/>
                </a:avLst>
              </a:prstGeom>
              <a:ln w="19050" cap="flat" cmpd="sng" algn="ctr">
                <a:solidFill>
                  <a:schemeClr val="hlink"/>
                </a:solidFill>
                <a:prstDash val="solid"/>
                <a:miter lim="800000"/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BF5854FB-98F7-A600-F1DF-B0F23627F371}"/>
                  </a:ext>
                </a:extLst>
              </p:cNvPr>
              <p:cNvSpPr txBox="1"/>
              <p:nvPr/>
            </p:nvSpPr>
            <p:spPr>
              <a:xfrm>
                <a:off x="5214842" y="3102693"/>
                <a:ext cx="8180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000" b="1" dirty="0"/>
                  <a:t>Ø alle 10 min</a:t>
                </a:r>
              </a:p>
            </p:txBody>
          </p:sp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F97A438E-B1D8-8557-8F1C-96BF1AE6CE19}"/>
                  </a:ext>
                </a:extLst>
              </p:cNvPr>
              <p:cNvSpPr txBox="1"/>
              <p:nvPr/>
            </p:nvSpPr>
            <p:spPr>
              <a:xfrm>
                <a:off x="6395718" y="2949480"/>
                <a:ext cx="597734" cy="1538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b="1" dirty="0">
                    <a:solidFill>
                      <a:schemeClr val="accent6"/>
                    </a:solidFill>
                  </a:rPr>
                  <a:t>- 67 %</a:t>
                </a:r>
              </a:p>
            </p:txBody>
          </p:sp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39E3CF40-BBFB-5854-8C3B-13A5496F40A8}"/>
                  </a:ext>
                </a:extLst>
              </p:cNvPr>
              <p:cNvSpPr txBox="1"/>
              <p:nvPr/>
            </p:nvSpPr>
            <p:spPr>
              <a:xfrm>
                <a:off x="6585729" y="3149504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neu</a:t>
                </a:r>
              </a:p>
            </p:txBody>
          </p: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A3A52708-0C04-590A-E9D4-D458A9D5CAFF}"/>
                  </a:ext>
                </a:extLst>
              </p:cNvPr>
              <p:cNvSpPr txBox="1"/>
              <p:nvPr/>
            </p:nvSpPr>
            <p:spPr>
              <a:xfrm>
                <a:off x="6585729" y="2768571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alt</a:t>
                </a:r>
              </a:p>
            </p:txBody>
          </p:sp>
        </p:grpSp>
      </p:grpSp>
      <p:grpSp>
        <p:nvGrpSpPr>
          <p:cNvPr id="164" name="Gruppieren 163">
            <a:extLst>
              <a:ext uri="{FF2B5EF4-FFF2-40B4-BE49-F238E27FC236}">
                <a16:creationId xmlns:a16="http://schemas.microsoft.com/office/drawing/2014/main" id="{4DE9C810-BC41-8A8B-09C5-F0C1721BF26B}"/>
              </a:ext>
            </a:extLst>
          </p:cNvPr>
          <p:cNvGrpSpPr/>
          <p:nvPr/>
        </p:nvGrpSpPr>
        <p:grpSpPr>
          <a:xfrm>
            <a:off x="4216007" y="4704147"/>
            <a:ext cx="2621017" cy="1110924"/>
            <a:chOff x="4216007" y="4704147"/>
            <a:chExt cx="2621017" cy="1110924"/>
          </a:xfrm>
        </p:grpSpPr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F01EE14B-4410-A1B8-49DF-CD0EFAF3811A}"/>
                </a:ext>
              </a:extLst>
            </p:cNvPr>
            <p:cNvGrpSpPr/>
            <p:nvPr/>
          </p:nvGrpSpPr>
          <p:grpSpPr>
            <a:xfrm>
              <a:off x="4611950" y="4961828"/>
              <a:ext cx="1482363" cy="853243"/>
              <a:chOff x="1030327" y="4297270"/>
              <a:chExt cx="1482363" cy="853243"/>
            </a:xfrm>
          </p:grpSpPr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59A4B18E-B885-2AB9-3423-D2DF5A02C1E4}"/>
                  </a:ext>
                </a:extLst>
              </p:cNvPr>
              <p:cNvSpPr txBox="1"/>
              <p:nvPr/>
            </p:nvSpPr>
            <p:spPr>
              <a:xfrm>
                <a:off x="1400882" y="4938229"/>
                <a:ext cx="1111808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Bedarfsgesteuert</a:t>
                </a:r>
              </a:p>
            </p:txBody>
          </p:sp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430CFBA1-2DA9-C536-D5A8-B517685D8B56}"/>
                  </a:ext>
                </a:extLst>
              </p:cNvPr>
              <p:cNvSpPr txBox="1"/>
              <p:nvPr/>
            </p:nvSpPr>
            <p:spPr>
              <a:xfrm>
                <a:off x="1396747" y="4638091"/>
                <a:ext cx="1047570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Geschwindigkeit</a:t>
                </a:r>
              </a:p>
            </p:txBody>
          </p:sp>
          <p:sp>
            <p:nvSpPr>
              <p:cNvPr id="98" name="Textfeld 97">
                <a:extLst>
                  <a:ext uri="{FF2B5EF4-FFF2-40B4-BE49-F238E27FC236}">
                    <a16:creationId xmlns:a16="http://schemas.microsoft.com/office/drawing/2014/main" id="{7DD17627-346F-7819-F3F0-EE8802CA558B}"/>
                  </a:ext>
                </a:extLst>
              </p:cNvPr>
              <p:cNvSpPr txBox="1"/>
              <p:nvPr/>
            </p:nvSpPr>
            <p:spPr>
              <a:xfrm>
                <a:off x="1394850" y="4337953"/>
                <a:ext cx="103142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Transparenz</a:t>
                </a:r>
              </a:p>
            </p:txBody>
          </p:sp>
          <p:pic>
            <p:nvPicPr>
              <p:cNvPr id="99" name="Grafik 98" descr="Recherche">
                <a:extLst>
                  <a:ext uri="{FF2B5EF4-FFF2-40B4-BE49-F238E27FC236}">
                    <a16:creationId xmlns:a16="http://schemas.microsoft.com/office/drawing/2014/main" id="{8BE47525-463D-3753-D36B-7F5196C2C4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69120" y="4297270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100" name="Grafik 99" descr="Messgerät">
                <a:extLst>
                  <a:ext uri="{FF2B5EF4-FFF2-40B4-BE49-F238E27FC236}">
                    <a16:creationId xmlns:a16="http://schemas.microsoft.com/office/drawing/2014/main" id="{D251C2A7-1897-04D4-C902-84E1D04F58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072553" y="4574006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101" name="Grafik 100" descr="Kreise mit Pfeilen">
                <a:extLst>
                  <a:ext uri="{FF2B5EF4-FFF2-40B4-BE49-F238E27FC236}">
                    <a16:creationId xmlns:a16="http://schemas.microsoft.com/office/drawing/2014/main" id="{53E1083A-C228-4EFD-001A-FCD7C5458A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030327" y="4847098"/>
                <a:ext cx="303415" cy="303415"/>
              </a:xfrm>
              <a:prstGeom prst="rect">
                <a:avLst/>
              </a:prstGeom>
            </p:spPr>
          </p:pic>
        </p:grp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EC5475AF-D16E-2488-5083-D3DFBDAB4335}"/>
                </a:ext>
              </a:extLst>
            </p:cNvPr>
            <p:cNvGrpSpPr/>
            <p:nvPr/>
          </p:nvGrpSpPr>
          <p:grpSpPr>
            <a:xfrm>
              <a:off x="6358198" y="5287720"/>
              <a:ext cx="192750" cy="196946"/>
              <a:chOff x="6358198" y="5287720"/>
              <a:chExt cx="192750" cy="196946"/>
            </a:xfrm>
          </p:grpSpPr>
          <p:sp>
            <p:nvSpPr>
              <p:cNvPr id="90" name="Freeform 2467">
                <a:extLst>
                  <a:ext uri="{FF2B5EF4-FFF2-40B4-BE49-F238E27FC236}">
                    <a16:creationId xmlns:a16="http://schemas.microsoft.com/office/drawing/2014/main" id="{AA984FF0-9DE8-58C4-42FD-40CF811B157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91" name="Ellipse 90">
                <a:extLst>
                  <a:ext uri="{FF2B5EF4-FFF2-40B4-BE49-F238E27FC236}">
                    <a16:creationId xmlns:a16="http://schemas.microsoft.com/office/drawing/2014/main" id="{329D1621-1CFC-DA9F-69FE-6CD9C0178FCF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98889952-ADB1-7E9D-D970-96963F022FD9}"/>
                </a:ext>
              </a:extLst>
            </p:cNvPr>
            <p:cNvGrpSpPr/>
            <p:nvPr/>
          </p:nvGrpSpPr>
          <p:grpSpPr>
            <a:xfrm>
              <a:off x="6358198" y="5005542"/>
              <a:ext cx="192750" cy="196946"/>
              <a:chOff x="6358198" y="5287720"/>
              <a:chExt cx="192750" cy="196946"/>
            </a:xfrm>
          </p:grpSpPr>
          <p:sp>
            <p:nvSpPr>
              <p:cNvPr id="105" name="Freeform 2467">
                <a:extLst>
                  <a:ext uri="{FF2B5EF4-FFF2-40B4-BE49-F238E27FC236}">
                    <a16:creationId xmlns:a16="http://schemas.microsoft.com/office/drawing/2014/main" id="{AADD2A16-A679-9FCF-5324-117C11BFC09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06" name="Ellipse 105">
                <a:extLst>
                  <a:ext uri="{FF2B5EF4-FFF2-40B4-BE49-F238E27FC236}">
                    <a16:creationId xmlns:a16="http://schemas.microsoft.com/office/drawing/2014/main" id="{EA54C553-CB43-C44A-4C2B-456E726F59B7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E13853FF-66AD-8145-B39B-B74B94BFE077}"/>
                </a:ext>
              </a:extLst>
            </p:cNvPr>
            <p:cNvGrpSpPr/>
            <p:nvPr/>
          </p:nvGrpSpPr>
          <p:grpSpPr>
            <a:xfrm>
              <a:off x="6644274" y="5287720"/>
              <a:ext cx="192750" cy="196946"/>
              <a:chOff x="6358198" y="5287720"/>
              <a:chExt cx="192750" cy="196946"/>
            </a:xfrm>
          </p:grpSpPr>
          <p:sp>
            <p:nvSpPr>
              <p:cNvPr id="108" name="Freeform 2467">
                <a:extLst>
                  <a:ext uri="{FF2B5EF4-FFF2-40B4-BE49-F238E27FC236}">
                    <a16:creationId xmlns:a16="http://schemas.microsoft.com/office/drawing/2014/main" id="{43A5D814-C718-8B79-799B-365BBF9B277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09" name="Ellipse 108">
                <a:extLst>
                  <a:ext uri="{FF2B5EF4-FFF2-40B4-BE49-F238E27FC236}">
                    <a16:creationId xmlns:a16="http://schemas.microsoft.com/office/drawing/2014/main" id="{3EBA9040-0C4D-3CBF-60A4-2639C8345DA9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14" name="Gruppieren 113">
              <a:extLst>
                <a:ext uri="{FF2B5EF4-FFF2-40B4-BE49-F238E27FC236}">
                  <a16:creationId xmlns:a16="http://schemas.microsoft.com/office/drawing/2014/main" id="{63CEE0DF-A596-9F51-6ECD-20B0BFACC388}"/>
                </a:ext>
              </a:extLst>
            </p:cNvPr>
            <p:cNvGrpSpPr/>
            <p:nvPr/>
          </p:nvGrpSpPr>
          <p:grpSpPr>
            <a:xfrm>
              <a:off x="6354944" y="5574893"/>
              <a:ext cx="192750" cy="196946"/>
              <a:chOff x="6358198" y="5287720"/>
              <a:chExt cx="192750" cy="196946"/>
            </a:xfrm>
          </p:grpSpPr>
          <p:sp>
            <p:nvSpPr>
              <p:cNvPr id="115" name="Freeform 2467">
                <a:extLst>
                  <a:ext uri="{FF2B5EF4-FFF2-40B4-BE49-F238E27FC236}">
                    <a16:creationId xmlns:a16="http://schemas.microsoft.com/office/drawing/2014/main" id="{76DFEC40-3AFB-BCBF-8E6A-D6FA89CAC8D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16" name="Ellipse 115">
                <a:extLst>
                  <a:ext uri="{FF2B5EF4-FFF2-40B4-BE49-F238E27FC236}">
                    <a16:creationId xmlns:a16="http://schemas.microsoft.com/office/drawing/2014/main" id="{20B6C323-E895-BA4D-9363-C81C143C4888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282F90BA-BF24-3151-CE07-3A3B900DCB1B}"/>
                </a:ext>
              </a:extLst>
            </p:cNvPr>
            <p:cNvSpPr txBox="1"/>
            <p:nvPr/>
          </p:nvSpPr>
          <p:spPr>
            <a:xfrm>
              <a:off x="4216007" y="4704147"/>
              <a:ext cx="19846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Benefits</a:t>
              </a:r>
              <a:endParaRPr lang="de-DE" sz="1000" dirty="0">
                <a:solidFill>
                  <a:schemeClr val="hlink"/>
                </a:solidFill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D70E1BA8-AE6F-A45D-1E68-4502C96E2625}"/>
              </a:ext>
            </a:extLst>
          </p:cNvPr>
          <p:cNvSpPr txBox="1"/>
          <p:nvPr/>
        </p:nvSpPr>
        <p:spPr bwMode="gray">
          <a:xfrm>
            <a:off x="532568" y="1491165"/>
            <a:ext cx="3218907" cy="4681426"/>
          </a:xfrm>
          <a:prstGeom prst="rect">
            <a:avLst/>
          </a:prstGeom>
          <a:noFill/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endParaRPr lang="de-DE" sz="1400" b="1" kern="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EC9BC71-022D-5AD0-595D-0ACEFEBE8AD4}"/>
              </a:ext>
            </a:extLst>
          </p:cNvPr>
          <p:cNvSpPr txBox="1"/>
          <p:nvPr/>
        </p:nvSpPr>
        <p:spPr bwMode="gray">
          <a:xfrm>
            <a:off x="535257" y="1491165"/>
            <a:ext cx="3216218" cy="271846"/>
          </a:xfrm>
          <a:prstGeom prst="rect">
            <a:avLst/>
          </a:prstGeom>
          <a:gradFill flip="none" rotWithShape="1">
            <a:gsLst>
              <a:gs pos="0">
                <a:srgbClr val="E9EEF1"/>
              </a:gs>
              <a:gs pos="40000">
                <a:srgbClr val="53748E"/>
              </a:gs>
            </a:gsLst>
            <a:lin ang="10800000" scaled="1"/>
            <a:tileRect/>
          </a:gradFill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r>
              <a:rPr lang="de-DE" sz="1400" b="1" kern="0" dirty="0">
                <a:solidFill>
                  <a:schemeClr val="bg1"/>
                </a:solidFill>
                <a:latin typeface="Segoe UI"/>
              </a:rPr>
              <a:t>Ausbaustufe 1</a:t>
            </a:r>
          </a:p>
        </p:txBody>
      </p: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B487121B-C6BD-8605-674F-3992CCDB36E2}"/>
              </a:ext>
            </a:extLst>
          </p:cNvPr>
          <p:cNvGrpSpPr/>
          <p:nvPr/>
        </p:nvGrpSpPr>
        <p:grpSpPr>
          <a:xfrm>
            <a:off x="603860" y="4704147"/>
            <a:ext cx="2386569" cy="1101630"/>
            <a:chOff x="603860" y="4704147"/>
            <a:chExt cx="2386569" cy="1101630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FB77E34D-4149-F3D0-D845-C869B6920E4E}"/>
                </a:ext>
              </a:extLst>
            </p:cNvPr>
            <p:cNvSpPr txBox="1"/>
            <p:nvPr/>
          </p:nvSpPr>
          <p:spPr>
            <a:xfrm>
              <a:off x="603860" y="4704147"/>
              <a:ext cx="19846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Benefits</a:t>
              </a:r>
              <a:endParaRPr lang="de-DE" sz="1000" dirty="0">
                <a:solidFill>
                  <a:schemeClr val="hlink"/>
                </a:solidFill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CF566757-0027-83D5-297D-169A06E9D783}"/>
                </a:ext>
              </a:extLst>
            </p:cNvPr>
            <p:cNvGrpSpPr/>
            <p:nvPr/>
          </p:nvGrpSpPr>
          <p:grpSpPr>
            <a:xfrm>
              <a:off x="1030327" y="4952534"/>
              <a:ext cx="1960102" cy="853243"/>
              <a:chOff x="1030327" y="4297270"/>
              <a:chExt cx="1960102" cy="853243"/>
            </a:xfrm>
          </p:grpSpPr>
          <p:grpSp>
            <p:nvGrpSpPr>
              <p:cNvPr id="47" name="Gruppieren 46">
                <a:extLst>
                  <a:ext uri="{FF2B5EF4-FFF2-40B4-BE49-F238E27FC236}">
                    <a16:creationId xmlns:a16="http://schemas.microsoft.com/office/drawing/2014/main" id="{C8787A0B-D77C-1DDB-03D3-A649021EB654}"/>
                  </a:ext>
                </a:extLst>
              </p:cNvPr>
              <p:cNvGrpSpPr/>
              <p:nvPr/>
            </p:nvGrpSpPr>
            <p:grpSpPr>
              <a:xfrm>
                <a:off x="1030327" y="4297270"/>
                <a:ext cx="1482363" cy="853243"/>
                <a:chOff x="1030327" y="4297270"/>
                <a:chExt cx="1482363" cy="853243"/>
              </a:xfrm>
            </p:grpSpPr>
            <p:sp>
              <p:nvSpPr>
                <p:cNvPr id="54" name="Textfeld 53">
                  <a:extLst>
                    <a:ext uri="{FF2B5EF4-FFF2-40B4-BE49-F238E27FC236}">
                      <a16:creationId xmlns:a16="http://schemas.microsoft.com/office/drawing/2014/main" id="{DB8BE221-5CE3-FC48-483E-4F299915434F}"/>
                    </a:ext>
                  </a:extLst>
                </p:cNvPr>
                <p:cNvSpPr txBox="1"/>
                <p:nvPr/>
              </p:nvSpPr>
              <p:spPr>
                <a:xfrm>
                  <a:off x="1400882" y="4938229"/>
                  <a:ext cx="1111808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Bedarfsgesteuert</a:t>
                  </a:r>
                </a:p>
              </p:txBody>
            </p:sp>
            <p:sp>
              <p:nvSpPr>
                <p:cNvPr id="55" name="Textfeld 54">
                  <a:extLst>
                    <a:ext uri="{FF2B5EF4-FFF2-40B4-BE49-F238E27FC236}">
                      <a16:creationId xmlns:a16="http://schemas.microsoft.com/office/drawing/2014/main" id="{3FCA6787-F574-5F0D-3B12-8C1F469881A7}"/>
                    </a:ext>
                  </a:extLst>
                </p:cNvPr>
                <p:cNvSpPr txBox="1"/>
                <p:nvPr/>
              </p:nvSpPr>
              <p:spPr>
                <a:xfrm>
                  <a:off x="1396747" y="4638091"/>
                  <a:ext cx="1047570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Geschwindigkeit</a:t>
                  </a:r>
                </a:p>
              </p:txBody>
            </p:sp>
            <p:sp>
              <p:nvSpPr>
                <p:cNvPr id="56" name="Textfeld 55">
                  <a:extLst>
                    <a:ext uri="{FF2B5EF4-FFF2-40B4-BE49-F238E27FC236}">
                      <a16:creationId xmlns:a16="http://schemas.microsoft.com/office/drawing/2014/main" id="{01171C36-7358-523E-3E6B-6BF6EA10EC1B}"/>
                    </a:ext>
                  </a:extLst>
                </p:cNvPr>
                <p:cNvSpPr txBox="1"/>
                <p:nvPr/>
              </p:nvSpPr>
              <p:spPr>
                <a:xfrm>
                  <a:off x="1394850" y="4337953"/>
                  <a:ext cx="1031423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Transparenz</a:t>
                  </a:r>
                </a:p>
              </p:txBody>
            </p:sp>
            <p:pic>
              <p:nvPicPr>
                <p:cNvPr id="57" name="Grafik 56" descr="Recherche">
                  <a:extLst>
                    <a:ext uri="{FF2B5EF4-FFF2-40B4-BE49-F238E27FC236}">
                      <a16:creationId xmlns:a16="http://schemas.microsoft.com/office/drawing/2014/main" id="{1862B110-2417-20B9-D198-0BBAF609AB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9120" y="4297270"/>
                  <a:ext cx="235254" cy="235254"/>
                </a:xfrm>
                <a:prstGeom prst="rect">
                  <a:avLst/>
                </a:prstGeom>
              </p:spPr>
            </p:pic>
            <p:pic>
              <p:nvPicPr>
                <p:cNvPr id="58" name="Grafik 57" descr="Messgerät">
                  <a:extLst>
                    <a:ext uri="{FF2B5EF4-FFF2-40B4-BE49-F238E27FC236}">
                      <a16:creationId xmlns:a16="http://schemas.microsoft.com/office/drawing/2014/main" id="{CB2EA38F-D929-5C8E-912A-781CA6C61F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2553" y="4574006"/>
                  <a:ext cx="235254" cy="235254"/>
                </a:xfrm>
                <a:prstGeom prst="rect">
                  <a:avLst/>
                </a:prstGeom>
              </p:spPr>
            </p:pic>
            <p:pic>
              <p:nvPicPr>
                <p:cNvPr id="59" name="Grafik 58" descr="Kreise mit Pfeilen">
                  <a:extLst>
                    <a:ext uri="{FF2B5EF4-FFF2-40B4-BE49-F238E27FC236}">
                      <a16:creationId xmlns:a16="http://schemas.microsoft.com/office/drawing/2014/main" id="{909E8A71-F178-BC5E-8AAE-524114460A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0327" y="4847098"/>
                  <a:ext cx="303415" cy="303415"/>
                </a:xfrm>
                <a:prstGeom prst="rect">
                  <a:avLst/>
                </a:prstGeom>
              </p:spPr>
            </p:pic>
          </p:grpSp>
          <p:sp>
            <p:nvSpPr>
              <p:cNvPr id="48" name="Freeform 2467">
                <a:extLst>
                  <a:ext uri="{FF2B5EF4-FFF2-40B4-BE49-F238E27FC236}">
                    <a16:creationId xmlns:a16="http://schemas.microsoft.com/office/drawing/2014/main" id="{6E5062B1-8F20-68CB-B034-DC748B2E40B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2821272" y="4665105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A9F7EB45-F490-9A4B-6D9F-43B13BE67E7C}"/>
                  </a:ext>
                </a:extLst>
              </p:cNvPr>
              <p:cNvSpPr/>
              <p:nvPr/>
            </p:nvSpPr>
            <p:spPr>
              <a:xfrm>
                <a:off x="2776575" y="4623162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9FE9C6A6-3C62-CE21-700B-3AC76B3EA7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5007407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0C6484E1-CD10-9C7D-1C18-AC490771AE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5059794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B8510A3B-893A-65CD-1513-C21BA617E2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4381847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EB703026-9AAB-BB3E-DA4A-99C4016158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4434234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44ABD28-4C51-2A74-AC39-14DE6AB7B499}"/>
              </a:ext>
            </a:extLst>
          </p:cNvPr>
          <p:cNvGrpSpPr/>
          <p:nvPr/>
        </p:nvGrpSpPr>
        <p:grpSpPr>
          <a:xfrm>
            <a:off x="603860" y="3003286"/>
            <a:ext cx="2788651" cy="1479698"/>
            <a:chOff x="603860" y="3003286"/>
            <a:chExt cx="2788651" cy="1479698"/>
          </a:xfrm>
        </p:grpSpPr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155299C4-9A24-B622-1025-62F208BC95B2}"/>
                </a:ext>
              </a:extLst>
            </p:cNvPr>
            <p:cNvSpPr/>
            <p:nvPr/>
          </p:nvSpPr>
          <p:spPr>
            <a:xfrm>
              <a:off x="105811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F86AB78D-C71C-3E1E-A190-3366F854A210}"/>
                </a:ext>
              </a:extLst>
            </p:cNvPr>
            <p:cNvSpPr/>
            <p:nvPr/>
          </p:nvSpPr>
          <p:spPr>
            <a:xfrm>
              <a:off x="1156691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6C1AED81-5F9B-60AE-3CB0-B55654761375}"/>
                </a:ext>
              </a:extLst>
            </p:cNvPr>
            <p:cNvSpPr/>
            <p:nvPr/>
          </p:nvSpPr>
          <p:spPr>
            <a:xfrm>
              <a:off x="1234717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38A26637-A793-4D1C-B2B7-E66055E68711}"/>
                </a:ext>
              </a:extLst>
            </p:cNvPr>
            <p:cNvSpPr/>
            <p:nvPr/>
          </p:nvSpPr>
          <p:spPr>
            <a:xfrm>
              <a:off x="1334203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06DA8491-9D53-D1B7-5BFF-E1AC85221CD6}"/>
                </a:ext>
              </a:extLst>
            </p:cNvPr>
            <p:cNvSpPr/>
            <p:nvPr/>
          </p:nvSpPr>
          <p:spPr>
            <a:xfrm>
              <a:off x="1411318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4DD270F7-FB34-33C6-50A2-74A6EC8A9205}"/>
                </a:ext>
              </a:extLst>
            </p:cNvPr>
            <p:cNvSpPr/>
            <p:nvPr/>
          </p:nvSpPr>
          <p:spPr>
            <a:xfrm>
              <a:off x="1842434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05C24279-04D5-B999-BD92-2EE32D868644}"/>
                </a:ext>
              </a:extLst>
            </p:cNvPr>
            <p:cNvSpPr/>
            <p:nvPr/>
          </p:nvSpPr>
          <p:spPr>
            <a:xfrm>
              <a:off x="1941009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7" name="Rechteck: abgerundete Ecken 26">
              <a:extLst>
                <a:ext uri="{FF2B5EF4-FFF2-40B4-BE49-F238E27FC236}">
                  <a16:creationId xmlns:a16="http://schemas.microsoft.com/office/drawing/2014/main" id="{2EEF89C4-92E3-FBEF-2E2D-3A3E0B44CBE7}"/>
                </a:ext>
              </a:extLst>
            </p:cNvPr>
            <p:cNvSpPr/>
            <p:nvPr/>
          </p:nvSpPr>
          <p:spPr>
            <a:xfrm>
              <a:off x="2019035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42AC83B7-875C-E977-A409-9BCBA0A659B9}"/>
                </a:ext>
              </a:extLst>
            </p:cNvPr>
            <p:cNvSpPr/>
            <p:nvPr/>
          </p:nvSpPr>
          <p:spPr>
            <a:xfrm>
              <a:off x="2118521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9" name="Rechteck: abgerundete Ecken 28">
              <a:extLst>
                <a:ext uri="{FF2B5EF4-FFF2-40B4-BE49-F238E27FC236}">
                  <a16:creationId xmlns:a16="http://schemas.microsoft.com/office/drawing/2014/main" id="{1A8671AC-905E-141B-3F11-0D44A40AC0A5}"/>
                </a:ext>
              </a:extLst>
            </p:cNvPr>
            <p:cNvSpPr/>
            <p:nvPr/>
          </p:nvSpPr>
          <p:spPr>
            <a:xfrm>
              <a:off x="219563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02F71979-E977-78E0-275F-52EC0B53589B}"/>
                </a:ext>
              </a:extLst>
            </p:cNvPr>
            <p:cNvSpPr/>
            <p:nvPr/>
          </p:nvSpPr>
          <p:spPr>
            <a:xfrm>
              <a:off x="2624984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DAC3BCC4-8C50-EDBB-DA18-97D709D3C178}"/>
                </a:ext>
              </a:extLst>
            </p:cNvPr>
            <p:cNvSpPr/>
            <p:nvPr/>
          </p:nvSpPr>
          <p:spPr>
            <a:xfrm>
              <a:off x="2723559" y="4160918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2" name="Rechteck: abgerundete Ecken 31">
              <a:extLst>
                <a:ext uri="{FF2B5EF4-FFF2-40B4-BE49-F238E27FC236}">
                  <a16:creationId xmlns:a16="http://schemas.microsoft.com/office/drawing/2014/main" id="{0A7BF23B-34E5-E292-0B6A-7DC3F29B0DE4}"/>
                </a:ext>
              </a:extLst>
            </p:cNvPr>
            <p:cNvSpPr/>
            <p:nvPr/>
          </p:nvSpPr>
          <p:spPr>
            <a:xfrm>
              <a:off x="2801585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BE188821-4F2C-FA60-A9C5-DCC5650EFB8F}"/>
                </a:ext>
              </a:extLst>
            </p:cNvPr>
            <p:cNvSpPr/>
            <p:nvPr/>
          </p:nvSpPr>
          <p:spPr>
            <a:xfrm>
              <a:off x="2901071" y="4161172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4" name="Rechteck: abgerundete Ecken 33">
              <a:extLst>
                <a:ext uri="{FF2B5EF4-FFF2-40B4-BE49-F238E27FC236}">
                  <a16:creationId xmlns:a16="http://schemas.microsoft.com/office/drawing/2014/main" id="{3635C606-7707-172A-3806-776863AECE73}"/>
                </a:ext>
              </a:extLst>
            </p:cNvPr>
            <p:cNvSpPr/>
            <p:nvPr/>
          </p:nvSpPr>
          <p:spPr>
            <a:xfrm>
              <a:off x="2978186" y="4338984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5" name="Pfeil: nach unten gekrümmt 34">
              <a:extLst>
                <a:ext uri="{FF2B5EF4-FFF2-40B4-BE49-F238E27FC236}">
                  <a16:creationId xmlns:a16="http://schemas.microsoft.com/office/drawing/2014/main" id="{5EFF90C4-9811-10B9-7FBE-14CE9481BF19}"/>
                </a:ext>
              </a:extLst>
            </p:cNvPr>
            <p:cNvSpPr/>
            <p:nvPr/>
          </p:nvSpPr>
          <p:spPr>
            <a:xfrm>
              <a:off x="1531733" y="4088649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Pfeil: nach unten gekrümmt 35">
              <a:extLst>
                <a:ext uri="{FF2B5EF4-FFF2-40B4-BE49-F238E27FC236}">
                  <a16:creationId xmlns:a16="http://schemas.microsoft.com/office/drawing/2014/main" id="{7A80229B-F00E-4375-3D6E-08F4EC732DAD}"/>
                </a:ext>
              </a:extLst>
            </p:cNvPr>
            <p:cNvSpPr/>
            <p:nvPr/>
          </p:nvSpPr>
          <p:spPr>
            <a:xfrm>
              <a:off x="2334031" y="4088649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16D1FE81-F838-8A81-2439-527B58B1A326}"/>
                </a:ext>
              </a:extLst>
            </p:cNvPr>
            <p:cNvSpPr/>
            <p:nvPr/>
          </p:nvSpPr>
          <p:spPr>
            <a:xfrm>
              <a:off x="1059154" y="3697912"/>
              <a:ext cx="1741440" cy="180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79CB8919-73BF-06CE-6548-0A84C192E2F6}"/>
                </a:ext>
              </a:extLst>
            </p:cNvPr>
            <p:cNvSpPr/>
            <p:nvPr/>
          </p:nvSpPr>
          <p:spPr>
            <a:xfrm>
              <a:off x="1001763" y="3394497"/>
              <a:ext cx="1800000" cy="180000"/>
            </a:xfrm>
            <a:prstGeom prst="rect">
              <a:avLst/>
            </a:prstGeom>
            <a:solidFill>
              <a:srgbClr val="999999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r>
                <a:rPr lang="de-DE" sz="1000" b="1" dirty="0"/>
                <a:t>Ø alle 30 min</a:t>
              </a: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AB64D73-E031-0D24-09B6-50189922D93C}"/>
                </a:ext>
              </a:extLst>
            </p:cNvPr>
            <p:cNvSpPr/>
            <p:nvPr/>
          </p:nvSpPr>
          <p:spPr>
            <a:xfrm>
              <a:off x="1000594" y="3697947"/>
              <a:ext cx="900000" cy="179965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endParaRPr lang="de-DE" sz="1000" b="1" dirty="0"/>
            </a:p>
          </p:txBody>
        </p: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8CD73677-D617-0F43-5F55-CFF8E17746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0593" y="3271236"/>
              <a:ext cx="1169" cy="744575"/>
            </a:xfrm>
            <a:prstGeom prst="line">
              <a:avLst/>
            </a:prstGeom>
            <a:ln w="38100" cap="flat" cmpd="sng" algn="ctr">
              <a:solidFill>
                <a:schemeClr val="hlink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Verbinder: gewinkelt 41">
              <a:extLst>
                <a:ext uri="{FF2B5EF4-FFF2-40B4-BE49-F238E27FC236}">
                  <a16:creationId xmlns:a16="http://schemas.microsoft.com/office/drawing/2014/main" id="{80B2EE34-F696-FBF0-B941-F7368FC1E422}"/>
                </a:ext>
              </a:extLst>
            </p:cNvPr>
            <p:cNvCxnSpPr>
              <a:stCxn id="39" idx="3"/>
              <a:endCxn id="38" idx="3"/>
            </p:cNvCxnSpPr>
            <p:nvPr/>
          </p:nvCxnSpPr>
          <p:spPr>
            <a:xfrm flipH="1">
              <a:off x="2800594" y="3484497"/>
              <a:ext cx="1169" cy="303415"/>
            </a:xfrm>
            <a:prstGeom prst="bentConnector3">
              <a:avLst>
                <a:gd name="adj1" fmla="val -14666382"/>
              </a:avLst>
            </a:prstGeom>
            <a:ln w="19050" cap="flat" cmpd="sng" algn="ctr">
              <a:solidFill>
                <a:schemeClr val="hlink"/>
              </a:solidFill>
              <a:prstDash val="solid"/>
              <a:miter lim="800000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E5D0E40D-88E8-9D3F-A033-4FEB922DA6F5}"/>
                </a:ext>
              </a:extLst>
            </p:cNvPr>
            <p:cNvSpPr txBox="1"/>
            <p:nvPr/>
          </p:nvSpPr>
          <p:spPr>
            <a:xfrm>
              <a:off x="1071066" y="3716012"/>
              <a:ext cx="90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000" b="1" dirty="0"/>
                <a:t>Ø alle 15 min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63AC2C73-5F65-EDCB-791E-5B4D92969704}"/>
                </a:ext>
              </a:extLst>
            </p:cNvPr>
            <p:cNvSpPr txBox="1"/>
            <p:nvPr/>
          </p:nvSpPr>
          <p:spPr>
            <a:xfrm>
              <a:off x="2826028" y="3562799"/>
              <a:ext cx="566483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dirty="0">
                  <a:solidFill>
                    <a:schemeClr val="accent6"/>
                  </a:solidFill>
                </a:rPr>
                <a:t>- 50 %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DB0EB7B-1742-DB3E-FCF9-229AF9718C56}"/>
                </a:ext>
              </a:extLst>
            </p:cNvPr>
            <p:cNvSpPr txBox="1"/>
            <p:nvPr/>
          </p:nvSpPr>
          <p:spPr>
            <a:xfrm>
              <a:off x="3016815" y="3766989"/>
              <a:ext cx="26663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800" dirty="0">
                  <a:solidFill>
                    <a:srgbClr val="707070"/>
                  </a:solidFill>
                </a:rPr>
                <a:t>neu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2D94117C-8236-C49A-1763-D1B1B87B849E}"/>
                </a:ext>
              </a:extLst>
            </p:cNvPr>
            <p:cNvSpPr txBox="1"/>
            <p:nvPr/>
          </p:nvSpPr>
          <p:spPr>
            <a:xfrm>
              <a:off x="3016815" y="3386056"/>
              <a:ext cx="26663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800" dirty="0">
                  <a:solidFill>
                    <a:srgbClr val="707070"/>
                  </a:solidFill>
                </a:rPr>
                <a:t>alt</a:t>
              </a:r>
            </a:p>
          </p:txBody>
        </p:sp>
        <p:sp>
          <p:nvSpPr>
            <p:cNvPr id="118" name="Textfeld 117">
              <a:extLst>
                <a:ext uri="{FF2B5EF4-FFF2-40B4-BE49-F238E27FC236}">
                  <a16:creationId xmlns:a16="http://schemas.microsoft.com/office/drawing/2014/main" id="{29CECACE-5AD8-894C-FFBF-521064AE12BA}"/>
                </a:ext>
              </a:extLst>
            </p:cNvPr>
            <p:cNvSpPr txBox="1"/>
            <p:nvPr/>
          </p:nvSpPr>
          <p:spPr>
            <a:xfrm>
              <a:off x="603860" y="3003286"/>
              <a:ext cx="231889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hlink"/>
                  </a:solidFill>
                </a:rPr>
                <a:t>Transportintervall</a:t>
              </a:r>
            </a:p>
          </p:txBody>
        </p:sp>
      </p:grpSp>
      <p:sp>
        <p:nvSpPr>
          <p:cNvPr id="61" name="Textfeld 60">
            <a:extLst>
              <a:ext uri="{FF2B5EF4-FFF2-40B4-BE49-F238E27FC236}">
                <a16:creationId xmlns:a16="http://schemas.microsoft.com/office/drawing/2014/main" id="{9D1F46BE-FB38-0B6B-10E8-A2D2662635FF}"/>
              </a:ext>
            </a:extLst>
          </p:cNvPr>
          <p:cNvSpPr txBox="1"/>
          <p:nvPr/>
        </p:nvSpPr>
        <p:spPr bwMode="gray">
          <a:xfrm>
            <a:off x="7703516" y="1491165"/>
            <a:ext cx="3218907" cy="4681426"/>
          </a:xfrm>
          <a:prstGeom prst="rect">
            <a:avLst/>
          </a:prstGeom>
          <a:noFill/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endParaRPr lang="de-DE" sz="1400" b="1" kern="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79B550BB-248C-7F3A-6E66-EA2149D2EB5F}"/>
              </a:ext>
            </a:extLst>
          </p:cNvPr>
          <p:cNvSpPr txBox="1"/>
          <p:nvPr/>
        </p:nvSpPr>
        <p:spPr bwMode="gray">
          <a:xfrm>
            <a:off x="7706205" y="1491165"/>
            <a:ext cx="3216218" cy="271846"/>
          </a:xfrm>
          <a:prstGeom prst="rect">
            <a:avLst/>
          </a:prstGeom>
          <a:gradFill flip="none" rotWithShape="1">
            <a:gsLst>
              <a:gs pos="0">
                <a:srgbClr val="E9EEF1"/>
              </a:gs>
              <a:gs pos="40000">
                <a:srgbClr val="53748E"/>
              </a:gs>
            </a:gsLst>
            <a:lin ang="10800000" scaled="1"/>
            <a:tileRect/>
          </a:gradFill>
          <a:ln w="19050" cap="flat" cmpd="sng" algn="ctr">
            <a:solidFill>
              <a:srgbClr val="53748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r>
              <a:rPr lang="de-DE" sz="1400" b="1" kern="0" dirty="0">
                <a:solidFill>
                  <a:schemeClr val="bg1"/>
                </a:solidFill>
                <a:latin typeface="Segoe UI"/>
              </a:rPr>
              <a:t>Ausbaustufe 3</a:t>
            </a:r>
          </a:p>
        </p:txBody>
      </p:sp>
      <p:grpSp>
        <p:nvGrpSpPr>
          <p:cNvPr id="163" name="Gruppieren 162">
            <a:extLst>
              <a:ext uri="{FF2B5EF4-FFF2-40B4-BE49-F238E27FC236}">
                <a16:creationId xmlns:a16="http://schemas.microsoft.com/office/drawing/2014/main" id="{7AA2046D-60CA-D1FC-C041-F5DE280A0FDB}"/>
              </a:ext>
            </a:extLst>
          </p:cNvPr>
          <p:cNvGrpSpPr/>
          <p:nvPr/>
        </p:nvGrpSpPr>
        <p:grpSpPr>
          <a:xfrm>
            <a:off x="7798772" y="4704147"/>
            <a:ext cx="2621017" cy="1110924"/>
            <a:chOff x="7798772" y="4704147"/>
            <a:chExt cx="2621017" cy="1110924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2023653F-84F4-CFE0-B73D-C50576D90E21}"/>
                </a:ext>
              </a:extLst>
            </p:cNvPr>
            <p:cNvGrpSpPr/>
            <p:nvPr/>
          </p:nvGrpSpPr>
          <p:grpSpPr>
            <a:xfrm>
              <a:off x="8194715" y="4961828"/>
              <a:ext cx="1482363" cy="853243"/>
              <a:chOff x="1030327" y="4297270"/>
              <a:chExt cx="1482363" cy="853243"/>
            </a:xfrm>
          </p:grpSpPr>
          <p:sp>
            <p:nvSpPr>
              <p:cNvPr id="121" name="Textfeld 120">
                <a:extLst>
                  <a:ext uri="{FF2B5EF4-FFF2-40B4-BE49-F238E27FC236}">
                    <a16:creationId xmlns:a16="http://schemas.microsoft.com/office/drawing/2014/main" id="{EC5B1246-F04D-88A6-5DB2-64CBDE0613F9}"/>
                  </a:ext>
                </a:extLst>
              </p:cNvPr>
              <p:cNvSpPr txBox="1"/>
              <p:nvPr/>
            </p:nvSpPr>
            <p:spPr>
              <a:xfrm>
                <a:off x="1400882" y="4938229"/>
                <a:ext cx="1111808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Bedarfsgesteuert</a:t>
                </a:r>
              </a:p>
            </p:txBody>
          </p:sp>
          <p:sp>
            <p:nvSpPr>
              <p:cNvPr id="122" name="Textfeld 121">
                <a:extLst>
                  <a:ext uri="{FF2B5EF4-FFF2-40B4-BE49-F238E27FC236}">
                    <a16:creationId xmlns:a16="http://schemas.microsoft.com/office/drawing/2014/main" id="{3AEA9BF5-490C-7479-C439-1DE1F0171C95}"/>
                  </a:ext>
                </a:extLst>
              </p:cNvPr>
              <p:cNvSpPr txBox="1"/>
              <p:nvPr/>
            </p:nvSpPr>
            <p:spPr>
              <a:xfrm>
                <a:off x="1396747" y="4638091"/>
                <a:ext cx="1047570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Geschwindigkeit</a:t>
                </a:r>
              </a:p>
            </p:txBody>
          </p:sp>
          <p:sp>
            <p:nvSpPr>
              <p:cNvPr id="123" name="Textfeld 122">
                <a:extLst>
                  <a:ext uri="{FF2B5EF4-FFF2-40B4-BE49-F238E27FC236}">
                    <a16:creationId xmlns:a16="http://schemas.microsoft.com/office/drawing/2014/main" id="{7EB22CD4-072D-2688-BEE2-4E2F3BBD570F}"/>
                  </a:ext>
                </a:extLst>
              </p:cNvPr>
              <p:cNvSpPr txBox="1"/>
              <p:nvPr/>
            </p:nvSpPr>
            <p:spPr>
              <a:xfrm>
                <a:off x="1394850" y="4337953"/>
                <a:ext cx="103142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Transparenz</a:t>
                </a:r>
              </a:p>
            </p:txBody>
          </p:sp>
          <p:pic>
            <p:nvPicPr>
              <p:cNvPr id="124" name="Grafik 123" descr="Recherche">
                <a:extLst>
                  <a:ext uri="{FF2B5EF4-FFF2-40B4-BE49-F238E27FC236}">
                    <a16:creationId xmlns:a16="http://schemas.microsoft.com/office/drawing/2014/main" id="{8B956FBA-ED1C-12C4-F2CE-0B890D7DDE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69120" y="4297270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125" name="Grafik 124" descr="Messgerät">
                <a:extLst>
                  <a:ext uri="{FF2B5EF4-FFF2-40B4-BE49-F238E27FC236}">
                    <a16:creationId xmlns:a16="http://schemas.microsoft.com/office/drawing/2014/main" id="{D702E31E-83D8-DE7F-827B-543721B29A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072553" y="4574006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126" name="Grafik 125" descr="Kreise mit Pfeilen">
                <a:extLst>
                  <a:ext uri="{FF2B5EF4-FFF2-40B4-BE49-F238E27FC236}">
                    <a16:creationId xmlns:a16="http://schemas.microsoft.com/office/drawing/2014/main" id="{3F77E694-3FF6-BEC2-393E-A3A41A504B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030327" y="4847098"/>
                <a:ext cx="303415" cy="303415"/>
              </a:xfrm>
              <a:prstGeom prst="rect">
                <a:avLst/>
              </a:prstGeom>
            </p:spPr>
          </p:pic>
        </p:grpSp>
        <p:grpSp>
          <p:nvGrpSpPr>
            <p:cNvPr id="127" name="Gruppieren 126">
              <a:extLst>
                <a:ext uri="{FF2B5EF4-FFF2-40B4-BE49-F238E27FC236}">
                  <a16:creationId xmlns:a16="http://schemas.microsoft.com/office/drawing/2014/main" id="{C698BB5D-9175-A822-CE9C-57C8D6322A4F}"/>
                </a:ext>
              </a:extLst>
            </p:cNvPr>
            <p:cNvGrpSpPr/>
            <p:nvPr/>
          </p:nvGrpSpPr>
          <p:grpSpPr>
            <a:xfrm>
              <a:off x="9940963" y="5287720"/>
              <a:ext cx="192750" cy="196946"/>
              <a:chOff x="6358198" y="5287720"/>
              <a:chExt cx="192750" cy="196946"/>
            </a:xfrm>
          </p:grpSpPr>
          <p:sp>
            <p:nvSpPr>
              <p:cNvPr id="128" name="Freeform 2467">
                <a:extLst>
                  <a:ext uri="{FF2B5EF4-FFF2-40B4-BE49-F238E27FC236}">
                    <a16:creationId xmlns:a16="http://schemas.microsoft.com/office/drawing/2014/main" id="{8A49145E-9C44-08EA-CF8C-3FFEE0A8FBC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29" name="Ellipse 128">
                <a:extLst>
                  <a:ext uri="{FF2B5EF4-FFF2-40B4-BE49-F238E27FC236}">
                    <a16:creationId xmlns:a16="http://schemas.microsoft.com/office/drawing/2014/main" id="{49F24511-5DF7-EF1F-B207-D45DEFDABB78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30" name="Gruppieren 129">
              <a:extLst>
                <a:ext uri="{FF2B5EF4-FFF2-40B4-BE49-F238E27FC236}">
                  <a16:creationId xmlns:a16="http://schemas.microsoft.com/office/drawing/2014/main" id="{92D960D7-E7DA-2DC7-2373-45D0FFDC0959}"/>
                </a:ext>
              </a:extLst>
            </p:cNvPr>
            <p:cNvGrpSpPr/>
            <p:nvPr/>
          </p:nvGrpSpPr>
          <p:grpSpPr>
            <a:xfrm>
              <a:off x="10227039" y="5287720"/>
              <a:ext cx="192750" cy="196946"/>
              <a:chOff x="6358198" y="5287720"/>
              <a:chExt cx="192750" cy="196946"/>
            </a:xfrm>
          </p:grpSpPr>
          <p:sp>
            <p:nvSpPr>
              <p:cNvPr id="131" name="Freeform 2467">
                <a:extLst>
                  <a:ext uri="{FF2B5EF4-FFF2-40B4-BE49-F238E27FC236}">
                    <a16:creationId xmlns:a16="http://schemas.microsoft.com/office/drawing/2014/main" id="{01DD4D43-A8AF-A73C-2E7B-83C09D8E90F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32" name="Ellipse 131">
                <a:extLst>
                  <a:ext uri="{FF2B5EF4-FFF2-40B4-BE49-F238E27FC236}">
                    <a16:creationId xmlns:a16="http://schemas.microsoft.com/office/drawing/2014/main" id="{0F8FB08B-74E9-C4EE-2585-9B9F76C87D7E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33" name="Gruppieren 132">
              <a:extLst>
                <a:ext uri="{FF2B5EF4-FFF2-40B4-BE49-F238E27FC236}">
                  <a16:creationId xmlns:a16="http://schemas.microsoft.com/office/drawing/2014/main" id="{7CBF6547-C167-E82F-CA68-24EC0EA0B535}"/>
                </a:ext>
              </a:extLst>
            </p:cNvPr>
            <p:cNvGrpSpPr/>
            <p:nvPr/>
          </p:nvGrpSpPr>
          <p:grpSpPr>
            <a:xfrm>
              <a:off x="9937709" y="5574893"/>
              <a:ext cx="192750" cy="196946"/>
              <a:chOff x="6358198" y="5287720"/>
              <a:chExt cx="192750" cy="196946"/>
            </a:xfrm>
          </p:grpSpPr>
          <p:sp>
            <p:nvSpPr>
              <p:cNvPr id="134" name="Freeform 2467">
                <a:extLst>
                  <a:ext uri="{FF2B5EF4-FFF2-40B4-BE49-F238E27FC236}">
                    <a16:creationId xmlns:a16="http://schemas.microsoft.com/office/drawing/2014/main" id="{E58FF3D1-BD72-999C-B39F-1ADAFD81A2A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35" name="Ellipse 134">
                <a:extLst>
                  <a:ext uri="{FF2B5EF4-FFF2-40B4-BE49-F238E27FC236}">
                    <a16:creationId xmlns:a16="http://schemas.microsoft.com/office/drawing/2014/main" id="{18E536BB-ED72-4912-A852-AC30F1678CDE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sp>
          <p:nvSpPr>
            <p:cNvPr id="136" name="Textfeld 135">
              <a:extLst>
                <a:ext uri="{FF2B5EF4-FFF2-40B4-BE49-F238E27FC236}">
                  <a16:creationId xmlns:a16="http://schemas.microsoft.com/office/drawing/2014/main" id="{76956D20-4111-C6B5-94E6-A59A276104E0}"/>
                </a:ext>
              </a:extLst>
            </p:cNvPr>
            <p:cNvSpPr txBox="1"/>
            <p:nvPr/>
          </p:nvSpPr>
          <p:spPr>
            <a:xfrm>
              <a:off x="7798772" y="4704147"/>
              <a:ext cx="19846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/>
                <a:t>Benefits</a:t>
              </a:r>
              <a:endParaRPr lang="de-DE" sz="1000" dirty="0"/>
            </a:p>
          </p:txBody>
        </p:sp>
        <p:grpSp>
          <p:nvGrpSpPr>
            <p:cNvPr id="137" name="Gruppieren 136">
              <a:extLst>
                <a:ext uri="{FF2B5EF4-FFF2-40B4-BE49-F238E27FC236}">
                  <a16:creationId xmlns:a16="http://schemas.microsoft.com/office/drawing/2014/main" id="{EDA9DCA3-8832-5344-3981-C45FD298A06B}"/>
                </a:ext>
              </a:extLst>
            </p:cNvPr>
            <p:cNvGrpSpPr/>
            <p:nvPr/>
          </p:nvGrpSpPr>
          <p:grpSpPr>
            <a:xfrm>
              <a:off x="9940963" y="4963813"/>
              <a:ext cx="192750" cy="196946"/>
              <a:chOff x="6358198" y="5287720"/>
              <a:chExt cx="192750" cy="196946"/>
            </a:xfrm>
          </p:grpSpPr>
          <p:sp>
            <p:nvSpPr>
              <p:cNvPr id="138" name="Freeform 2467">
                <a:extLst>
                  <a:ext uri="{FF2B5EF4-FFF2-40B4-BE49-F238E27FC236}">
                    <a16:creationId xmlns:a16="http://schemas.microsoft.com/office/drawing/2014/main" id="{C9A5C5DD-474A-92CF-F7EF-3C9BB3FF640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39" name="Ellipse 138">
                <a:extLst>
                  <a:ext uri="{FF2B5EF4-FFF2-40B4-BE49-F238E27FC236}">
                    <a16:creationId xmlns:a16="http://schemas.microsoft.com/office/drawing/2014/main" id="{1E9216F4-025E-5778-95CE-D2CD8248D093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40" name="Gruppieren 139">
              <a:extLst>
                <a:ext uri="{FF2B5EF4-FFF2-40B4-BE49-F238E27FC236}">
                  <a16:creationId xmlns:a16="http://schemas.microsoft.com/office/drawing/2014/main" id="{1B93B4A4-C710-FF1E-C70F-F678D48425FE}"/>
                </a:ext>
              </a:extLst>
            </p:cNvPr>
            <p:cNvGrpSpPr/>
            <p:nvPr/>
          </p:nvGrpSpPr>
          <p:grpSpPr>
            <a:xfrm>
              <a:off x="10227039" y="4963813"/>
              <a:ext cx="192750" cy="196946"/>
              <a:chOff x="6358198" y="5287720"/>
              <a:chExt cx="192750" cy="196946"/>
            </a:xfrm>
          </p:grpSpPr>
          <p:sp>
            <p:nvSpPr>
              <p:cNvPr id="141" name="Freeform 2467">
                <a:extLst>
                  <a:ext uri="{FF2B5EF4-FFF2-40B4-BE49-F238E27FC236}">
                    <a16:creationId xmlns:a16="http://schemas.microsoft.com/office/drawing/2014/main" id="{022CE8DC-122D-8FC8-5C4D-3654E35BEC7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02895" y="532966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Ellipse 141">
                <a:extLst>
                  <a:ext uri="{FF2B5EF4-FFF2-40B4-BE49-F238E27FC236}">
                    <a16:creationId xmlns:a16="http://schemas.microsoft.com/office/drawing/2014/main" id="{39D27414-CAFE-96D8-5EAC-D6B1008105CF}"/>
                  </a:ext>
                </a:extLst>
              </p:cNvPr>
              <p:cNvSpPr/>
              <p:nvPr/>
            </p:nvSpPr>
            <p:spPr>
              <a:xfrm>
                <a:off x="6358198" y="5287720"/>
                <a:ext cx="192750" cy="196946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BF7CDC67-5CD2-A02B-8AD7-6BAC8237C289}"/>
              </a:ext>
            </a:extLst>
          </p:cNvPr>
          <p:cNvGrpSpPr/>
          <p:nvPr/>
        </p:nvGrpSpPr>
        <p:grpSpPr>
          <a:xfrm>
            <a:off x="7762897" y="3003286"/>
            <a:ext cx="2762106" cy="1480500"/>
            <a:chOff x="7762897" y="3003286"/>
            <a:chExt cx="2762106" cy="1480500"/>
          </a:xfrm>
        </p:grpSpPr>
        <p:sp>
          <p:nvSpPr>
            <p:cNvPr id="143" name="Textfeld 142">
              <a:extLst>
                <a:ext uri="{FF2B5EF4-FFF2-40B4-BE49-F238E27FC236}">
                  <a16:creationId xmlns:a16="http://schemas.microsoft.com/office/drawing/2014/main" id="{C3099413-6A4B-08C8-72DA-54DBE794AAF6}"/>
                </a:ext>
              </a:extLst>
            </p:cNvPr>
            <p:cNvSpPr txBox="1"/>
            <p:nvPr/>
          </p:nvSpPr>
          <p:spPr>
            <a:xfrm>
              <a:off x="7762897" y="3003286"/>
              <a:ext cx="231889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/>
                <a:t>Transportintervall</a:t>
              </a:r>
            </a:p>
          </p:txBody>
        </p:sp>
        <p:sp>
          <p:nvSpPr>
            <p:cNvPr id="145" name="Rechteck: abgerundete Ecken 144">
              <a:extLst>
                <a:ext uri="{FF2B5EF4-FFF2-40B4-BE49-F238E27FC236}">
                  <a16:creationId xmlns:a16="http://schemas.microsoft.com/office/drawing/2014/main" id="{B3AF62E7-4DE2-96DE-8BD0-CDB32CF154C4}"/>
                </a:ext>
              </a:extLst>
            </p:cNvPr>
            <p:cNvSpPr/>
            <p:nvPr/>
          </p:nvSpPr>
          <p:spPr>
            <a:xfrm>
              <a:off x="8385978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46" name="Rechteck: abgerundete Ecken 145">
              <a:extLst>
                <a:ext uri="{FF2B5EF4-FFF2-40B4-BE49-F238E27FC236}">
                  <a16:creationId xmlns:a16="http://schemas.microsoft.com/office/drawing/2014/main" id="{C4AB6B99-89C2-5475-31C7-16F2AC54E60A}"/>
                </a:ext>
              </a:extLst>
            </p:cNvPr>
            <p:cNvSpPr/>
            <p:nvPr/>
          </p:nvSpPr>
          <p:spPr>
            <a:xfrm>
              <a:off x="9041869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47" name="Rechteck: abgerundete Ecken 146">
              <a:extLst>
                <a:ext uri="{FF2B5EF4-FFF2-40B4-BE49-F238E27FC236}">
                  <a16:creationId xmlns:a16="http://schemas.microsoft.com/office/drawing/2014/main" id="{202F00B6-B258-A987-8162-7949313930FA}"/>
                </a:ext>
              </a:extLst>
            </p:cNvPr>
            <p:cNvSpPr/>
            <p:nvPr/>
          </p:nvSpPr>
          <p:spPr>
            <a:xfrm>
              <a:off x="9776245" y="4339786"/>
              <a:ext cx="144000" cy="144000"/>
            </a:xfrm>
            <a:prstGeom prst="roundRect">
              <a:avLst/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48" name="Pfeil: nach unten gekrümmt 147">
              <a:extLst>
                <a:ext uri="{FF2B5EF4-FFF2-40B4-BE49-F238E27FC236}">
                  <a16:creationId xmlns:a16="http://schemas.microsoft.com/office/drawing/2014/main" id="{51DE21A6-3ED1-D7E7-B6B5-4B94E37EAB3D}"/>
                </a:ext>
              </a:extLst>
            </p:cNvPr>
            <p:cNvSpPr/>
            <p:nvPr/>
          </p:nvSpPr>
          <p:spPr>
            <a:xfrm>
              <a:off x="8638477" y="4089451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9" name="Pfeil: nach unten gekrümmt 148">
              <a:extLst>
                <a:ext uri="{FF2B5EF4-FFF2-40B4-BE49-F238E27FC236}">
                  <a16:creationId xmlns:a16="http://schemas.microsoft.com/office/drawing/2014/main" id="{41F03D45-074C-4827-08A6-61D6A554735E}"/>
                </a:ext>
              </a:extLst>
            </p:cNvPr>
            <p:cNvSpPr/>
            <p:nvPr/>
          </p:nvSpPr>
          <p:spPr>
            <a:xfrm>
              <a:off x="9357650" y="4089451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hlink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50" name="Gruppieren 149">
              <a:extLst>
                <a:ext uri="{FF2B5EF4-FFF2-40B4-BE49-F238E27FC236}">
                  <a16:creationId xmlns:a16="http://schemas.microsoft.com/office/drawing/2014/main" id="{0385728E-FCCB-EC4D-27B1-320B8744F236}"/>
                </a:ext>
              </a:extLst>
            </p:cNvPr>
            <p:cNvGrpSpPr/>
            <p:nvPr/>
          </p:nvGrpSpPr>
          <p:grpSpPr>
            <a:xfrm>
              <a:off x="8101833" y="3272038"/>
              <a:ext cx="2423170" cy="744575"/>
              <a:chOff x="4570282" y="2657917"/>
              <a:chExt cx="2423170" cy="744575"/>
            </a:xfrm>
          </p:grpSpPr>
          <p:sp>
            <p:nvSpPr>
              <p:cNvPr id="151" name="Rechteck 150">
                <a:extLst>
                  <a:ext uri="{FF2B5EF4-FFF2-40B4-BE49-F238E27FC236}">
                    <a16:creationId xmlns:a16="http://schemas.microsoft.com/office/drawing/2014/main" id="{988DC86A-B1FA-3DC3-3C67-5238080D56F7}"/>
                  </a:ext>
                </a:extLst>
              </p:cNvPr>
              <p:cNvSpPr/>
              <p:nvPr/>
            </p:nvSpPr>
            <p:spPr>
              <a:xfrm>
                <a:off x="4628843" y="3084593"/>
                <a:ext cx="1741440" cy="180000"/>
              </a:xfrm>
              <a:prstGeom prst="rect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2" name="Rechteck 151">
                <a:extLst>
                  <a:ext uri="{FF2B5EF4-FFF2-40B4-BE49-F238E27FC236}">
                    <a16:creationId xmlns:a16="http://schemas.microsoft.com/office/drawing/2014/main" id="{E6890543-78F5-7E1D-9339-E399BBF371F0}"/>
                  </a:ext>
                </a:extLst>
              </p:cNvPr>
              <p:cNvSpPr/>
              <p:nvPr/>
            </p:nvSpPr>
            <p:spPr>
              <a:xfrm>
                <a:off x="4571452" y="2781178"/>
                <a:ext cx="1800000" cy="180000"/>
              </a:xfrm>
              <a:prstGeom prst="rect">
                <a:avLst/>
              </a:prstGeom>
              <a:solidFill>
                <a:srgbClr val="999999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r>
                  <a:rPr lang="de-DE" sz="1000" b="1" dirty="0"/>
                  <a:t>Ø alle 30 min</a:t>
                </a:r>
              </a:p>
            </p:txBody>
          </p:sp>
          <p:sp>
            <p:nvSpPr>
              <p:cNvPr id="153" name="Rechteck 152">
                <a:extLst>
                  <a:ext uri="{FF2B5EF4-FFF2-40B4-BE49-F238E27FC236}">
                    <a16:creationId xmlns:a16="http://schemas.microsoft.com/office/drawing/2014/main" id="{E00A840A-FD93-11A7-B9C3-875B27E3C295}"/>
                  </a:ext>
                </a:extLst>
              </p:cNvPr>
              <p:cNvSpPr/>
              <p:nvPr/>
            </p:nvSpPr>
            <p:spPr>
              <a:xfrm>
                <a:off x="4570283" y="3084628"/>
                <a:ext cx="594000" cy="180000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endParaRPr lang="de-DE" sz="1000" b="1" dirty="0"/>
              </a:p>
            </p:txBody>
          </p:sp>
          <p:cxnSp>
            <p:nvCxnSpPr>
              <p:cNvPr id="154" name="Gerader Verbinder 153">
                <a:extLst>
                  <a:ext uri="{FF2B5EF4-FFF2-40B4-BE49-F238E27FC236}">
                    <a16:creationId xmlns:a16="http://schemas.microsoft.com/office/drawing/2014/main" id="{B5CD0C59-DD01-08B5-AAE9-9AA0C95E3D8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70282" y="2657917"/>
                <a:ext cx="1169" cy="744575"/>
              </a:xfrm>
              <a:prstGeom prst="line">
                <a:avLst/>
              </a:prstGeom>
              <a:ln w="38100" cap="flat" cmpd="sng" algn="ctr">
                <a:solidFill>
                  <a:schemeClr val="hlink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Verbinder: gewinkelt 154">
                <a:extLst>
                  <a:ext uri="{FF2B5EF4-FFF2-40B4-BE49-F238E27FC236}">
                    <a16:creationId xmlns:a16="http://schemas.microsoft.com/office/drawing/2014/main" id="{C9F6F0DE-D259-E67B-9EF1-9F7748844614}"/>
                  </a:ext>
                </a:extLst>
              </p:cNvPr>
              <p:cNvCxnSpPr>
                <a:stCxn id="152" idx="3"/>
                <a:endCxn id="151" idx="3"/>
              </p:cNvCxnSpPr>
              <p:nvPr/>
            </p:nvCxnSpPr>
            <p:spPr>
              <a:xfrm flipH="1">
                <a:off x="6370283" y="2871178"/>
                <a:ext cx="1169" cy="303415"/>
              </a:xfrm>
              <a:prstGeom prst="bentConnector3">
                <a:avLst>
                  <a:gd name="adj1" fmla="val -14666382"/>
                </a:avLst>
              </a:prstGeom>
              <a:ln w="19050" cap="flat" cmpd="sng" algn="ctr">
                <a:solidFill>
                  <a:schemeClr val="hlink"/>
                </a:solidFill>
                <a:prstDash val="solid"/>
                <a:miter lim="800000"/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27DE5EAD-B9EC-4D65-33F1-D7CE669E1BEA}"/>
                  </a:ext>
                </a:extLst>
              </p:cNvPr>
              <p:cNvSpPr txBox="1"/>
              <p:nvPr/>
            </p:nvSpPr>
            <p:spPr>
              <a:xfrm>
                <a:off x="5214842" y="3102693"/>
                <a:ext cx="8180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000" b="1" dirty="0"/>
                  <a:t>Ø alle 10 min</a:t>
                </a:r>
              </a:p>
            </p:txBody>
          </p:sp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55A365CE-C743-A861-67F8-B9B9FBF0D0A8}"/>
                  </a:ext>
                </a:extLst>
              </p:cNvPr>
              <p:cNvSpPr txBox="1"/>
              <p:nvPr/>
            </p:nvSpPr>
            <p:spPr>
              <a:xfrm>
                <a:off x="6395718" y="2949480"/>
                <a:ext cx="597734" cy="1538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b="1" dirty="0">
                    <a:solidFill>
                      <a:schemeClr val="accent6"/>
                    </a:solidFill>
                  </a:rPr>
                  <a:t>- 67 %</a:t>
                </a:r>
              </a:p>
            </p:txBody>
          </p:sp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A1DF0655-4DEE-B35A-67BF-E3720E7C7EAC}"/>
                  </a:ext>
                </a:extLst>
              </p:cNvPr>
              <p:cNvSpPr txBox="1"/>
              <p:nvPr/>
            </p:nvSpPr>
            <p:spPr>
              <a:xfrm>
                <a:off x="6585729" y="3149504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neu</a:t>
                </a:r>
              </a:p>
            </p:txBody>
          </p:sp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CDF99B2B-0C1F-FE83-1178-B6807EA1DBBD}"/>
                  </a:ext>
                </a:extLst>
              </p:cNvPr>
              <p:cNvSpPr txBox="1"/>
              <p:nvPr/>
            </p:nvSpPr>
            <p:spPr>
              <a:xfrm>
                <a:off x="6585729" y="2768571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alt</a:t>
                </a:r>
              </a:p>
            </p:txBody>
          </p:sp>
        </p:grpSp>
      </p:grpSp>
      <p:pic>
        <p:nvPicPr>
          <p:cNvPr id="68" name="Grafik 67" descr="Cloudcomputing Silhouette">
            <a:extLst>
              <a:ext uri="{FF2B5EF4-FFF2-40B4-BE49-F238E27FC236}">
                <a16:creationId xmlns:a16="http://schemas.microsoft.com/office/drawing/2014/main" id="{C1084D1B-7B36-91EA-BBFD-A99232BBDBF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96658" y="2091867"/>
            <a:ext cx="625765" cy="62576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7A8BE43-4869-DE8F-EFB8-08BDAD325DE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61941" y="1767512"/>
            <a:ext cx="2176030" cy="1575129"/>
          </a:xfrm>
          <a:prstGeom prst="rect">
            <a:avLst/>
          </a:prstGeom>
        </p:spPr>
      </p:pic>
      <p:pic>
        <p:nvPicPr>
          <p:cNvPr id="161" name="Grafik 160">
            <a:extLst>
              <a:ext uri="{FF2B5EF4-FFF2-40B4-BE49-F238E27FC236}">
                <a16:creationId xmlns:a16="http://schemas.microsoft.com/office/drawing/2014/main" id="{5D6AD285-78CA-15EE-FF31-326B30E351E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502498" y="1763011"/>
            <a:ext cx="2167114" cy="1568676"/>
          </a:xfrm>
          <a:prstGeom prst="rect">
            <a:avLst/>
          </a:prstGeom>
        </p:spPr>
      </p:pic>
      <p:pic>
        <p:nvPicPr>
          <p:cNvPr id="162" name="Grafik 161">
            <a:extLst>
              <a:ext uri="{FF2B5EF4-FFF2-40B4-BE49-F238E27FC236}">
                <a16:creationId xmlns:a16="http://schemas.microsoft.com/office/drawing/2014/main" id="{11C4ABF1-0A45-1609-0000-DB4F11E33C1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003492" y="1763011"/>
            <a:ext cx="2167114" cy="1568676"/>
          </a:xfrm>
          <a:prstGeom prst="rect">
            <a:avLst/>
          </a:prstGeom>
        </p:spPr>
      </p:pic>
      <p:pic>
        <p:nvPicPr>
          <p:cNvPr id="166" name="Grafik 165">
            <a:extLst>
              <a:ext uri="{FF2B5EF4-FFF2-40B4-BE49-F238E27FC236}">
                <a16:creationId xmlns:a16="http://schemas.microsoft.com/office/drawing/2014/main" id="{9B677859-2808-7B9D-F1E7-8C3B201AE6F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22572" y="1510625"/>
            <a:ext cx="2838898" cy="205495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266374E-EFE8-019D-AF26-7CE29B332C5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695834" y="1732227"/>
            <a:ext cx="2176030" cy="157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2649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33FF3B90-5659-9D0C-F32A-32F823636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232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33FF3B90-5659-9D0C-F32A-32F823636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9668208-55BA-C038-D1BD-9F2DFD7AA6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ena Dörfl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1987FCD-CB98-401F-C309-FFFD70F321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W </a:t>
            </a:r>
            <a:r>
              <a:rPr lang="de-DE" dirty="0" err="1"/>
              <a:t>Production</a:t>
            </a:r>
            <a:r>
              <a:rPr lang="de-DE" dirty="0"/>
              <a:t> </a:t>
            </a:r>
            <a:r>
              <a:rPr lang="de-DE" dirty="0" err="1"/>
              <a:t>Punchingtool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3432246-9AB6-A63F-E172-D39DCA0A0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+49 7156 303-3093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DA49C2-0456-D63E-E494-2945F87481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Lena.doerfler@trumpf.com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BB8235F-094F-7B34-5CB5-B2D038D84AD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655638" cy="306388"/>
          </a:xfrm>
        </p:spPr>
        <p:txBody>
          <a:bodyPr/>
          <a:lstStyle/>
          <a:p>
            <a:fld id="{3F20C922-A1B3-4C47-A906-671B4FACC738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50686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45CD8CB-8885-05B9-EA4F-C8CC76C31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45CD8CB-8885-05B9-EA4F-C8CC76C31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564122-7C24-4E05-A89C-FF1EB561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 err="1"/>
              <a:t>Unsere</a:t>
            </a:r>
            <a:r>
              <a:rPr lang="de-DE" dirty="0"/>
              <a:t> </a:t>
            </a:r>
            <a:r>
              <a:rPr lang="de-DE" dirty="0" err="1"/>
              <a:t>Produkte</a:t>
            </a:r>
            <a:r>
              <a:rPr lang="de-DE" dirty="0"/>
              <a:t>: </a:t>
            </a:r>
            <a:r>
              <a:rPr lang="de-DE" dirty="0" err="1"/>
              <a:t>Stanzwerkzeuge</a:t>
            </a:r>
            <a:r>
              <a:rPr lang="de-DE" dirty="0"/>
              <a:t> für TRUMPF </a:t>
            </a:r>
            <a:r>
              <a:rPr lang="de-DE" dirty="0" err="1"/>
              <a:t>Maschinen</a:t>
            </a:r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663EF09-27A5-FFEF-D903-5F14DAD2234F}"/>
              </a:ext>
            </a:extLst>
          </p:cNvPr>
          <p:cNvGrpSpPr/>
          <p:nvPr/>
        </p:nvGrpSpPr>
        <p:grpSpPr>
          <a:xfrm>
            <a:off x="635576" y="1508161"/>
            <a:ext cx="11063678" cy="4680416"/>
            <a:chOff x="635576" y="1508161"/>
            <a:chExt cx="11063678" cy="4680416"/>
          </a:xfrm>
        </p:grpSpPr>
        <p:sp>
          <p:nvSpPr>
            <p:cNvPr id="7" name="Sechseck 6">
              <a:extLst>
                <a:ext uri="{FF2B5EF4-FFF2-40B4-BE49-F238E27FC236}">
                  <a16:creationId xmlns:a16="http://schemas.microsoft.com/office/drawing/2014/main" id="{EDAAA555-663C-237F-51DF-C33F9FE4B8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5576" y="3440733"/>
              <a:ext cx="2123756" cy="1800000"/>
            </a:xfrm>
            <a:prstGeom prst="hexagon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>
              <a:lvl1pPr>
                <a:buClr>
                  <a:schemeClr val="tx2"/>
                </a:buClr>
                <a:buFont typeface="Wingdings" pitchFamily="2" charset="2"/>
                <a:buChar char="§"/>
              </a:lvl1pPr>
              <a:lvl2pPr>
                <a:buClr>
                  <a:schemeClr val="tx2"/>
                </a:buClr>
                <a:buFont typeface="Wingdings" pitchFamily="2" charset="2"/>
                <a:buChar char="§"/>
              </a:lvl2pPr>
              <a:lvl3pPr>
                <a:buClr>
                  <a:schemeClr val="tx2"/>
                </a:buClr>
                <a:buFont typeface="Wingdings" pitchFamily="2" charset="2"/>
                <a:buChar char="§"/>
              </a:lvl3pPr>
              <a:lvl4pPr>
                <a:buClr>
                  <a:schemeClr val="tx2"/>
                </a:buClr>
                <a:buFont typeface="Wingdings" pitchFamily="2" charset="2"/>
                <a:buChar char="§"/>
              </a:lvl4pPr>
              <a:lvl5pPr>
                <a:buClr>
                  <a:schemeClr val="tx2"/>
                </a:buClr>
                <a:buFont typeface="Wingdings" pitchFamily="2" charset="2"/>
                <a:buChar char="§"/>
              </a:lvl5pPr>
              <a:lvl6pPr>
                <a:buClr>
                  <a:schemeClr val="tx2"/>
                </a:buClr>
                <a:buFont typeface="Wingdings" pitchFamily="2" charset="2"/>
                <a:buChar char="§"/>
              </a:lvl6pPr>
              <a:lvl7pPr>
                <a:buClr>
                  <a:schemeClr val="tx2"/>
                </a:buClr>
                <a:buFont typeface="Wingdings" panose="05000000000000000000" pitchFamily="2" charset="2"/>
                <a:buChar char="§"/>
              </a:lvl7pPr>
              <a:lvl8pPr>
                <a:buClr>
                  <a:schemeClr val="tx2"/>
                </a:buClr>
                <a:buFont typeface="Wingdings" panose="05000000000000000000" pitchFamily="2" charset="2"/>
                <a:buChar char="§"/>
              </a:lvl8pPr>
              <a:lvl9pPr>
                <a:buClr>
                  <a:schemeClr val="tx2"/>
                </a:buClr>
                <a:buFont typeface="Wingdings" panose="05000000000000000000" pitchFamily="2" charset="2"/>
                <a:buChar char="§"/>
              </a:lvl9pPr>
            </a:lstStyle>
            <a:p>
              <a:pPr algn="ctr">
                <a:buNone/>
              </a:pPr>
              <a:endParaRPr lang="de-DE" sz="1200" b="1" dirty="0"/>
            </a:p>
          </p:txBody>
        </p:sp>
        <p:sp>
          <p:nvSpPr>
            <p:cNvPr id="8" name="Sechseck 7">
              <a:extLst>
                <a:ext uri="{FF2B5EF4-FFF2-40B4-BE49-F238E27FC236}">
                  <a16:creationId xmlns:a16="http://schemas.microsoft.com/office/drawing/2014/main" id="{149FCE66-DE3A-9A9E-932A-DB64AF141C0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11771" y="3435197"/>
              <a:ext cx="2123756" cy="1800000"/>
            </a:xfrm>
            <a:prstGeom prst="hexagon">
              <a:avLst/>
            </a:prstGeom>
            <a:blipFill dpi="0"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200" b="1" dirty="0"/>
            </a:p>
          </p:txBody>
        </p:sp>
        <p:sp>
          <p:nvSpPr>
            <p:cNvPr id="11" name="Sechseck 10">
              <a:extLst>
                <a:ext uri="{FF2B5EF4-FFF2-40B4-BE49-F238E27FC236}">
                  <a16:creationId xmlns:a16="http://schemas.microsoft.com/office/drawing/2014/main" id="{1B48F966-6751-8FAB-ACDA-F4A02B05CE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23675" y="2496741"/>
              <a:ext cx="2123756" cy="1800000"/>
            </a:xfrm>
            <a:prstGeom prst="hexagon">
              <a:avLst/>
            </a:prstGeom>
            <a:blipFill dpi="0"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200" b="1" dirty="0"/>
            </a:p>
          </p:txBody>
        </p:sp>
        <p:sp>
          <p:nvSpPr>
            <p:cNvPr id="19" name="Sechseck 18">
              <a:extLst>
                <a:ext uri="{FF2B5EF4-FFF2-40B4-BE49-F238E27FC236}">
                  <a16:creationId xmlns:a16="http://schemas.microsoft.com/office/drawing/2014/main" id="{90A729DC-BF5E-7245-C18D-644DCA4C79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11771" y="1508161"/>
              <a:ext cx="2123753" cy="1800000"/>
            </a:xfrm>
            <a:prstGeom prst="hexagon">
              <a:avLst/>
            </a:prstGeom>
            <a:blipFill dpi="0"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100" b="1" dirty="0"/>
            </a:p>
          </p:txBody>
        </p:sp>
        <p:sp>
          <p:nvSpPr>
            <p:cNvPr id="20" name="Sechseck 19">
              <a:extLst>
                <a:ext uri="{FF2B5EF4-FFF2-40B4-BE49-F238E27FC236}">
                  <a16:creationId xmlns:a16="http://schemas.microsoft.com/office/drawing/2014/main" id="{F648CFE0-1367-F87B-2DD3-44D8A31E87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75501" y="2453604"/>
              <a:ext cx="2123753" cy="1800000"/>
            </a:xfrm>
            <a:prstGeom prst="hexagon">
              <a:avLst/>
            </a:pr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100" b="1" dirty="0"/>
            </a:p>
          </p:txBody>
        </p:sp>
        <p:sp>
          <p:nvSpPr>
            <p:cNvPr id="21" name="Sechseck 20">
              <a:extLst>
                <a:ext uri="{FF2B5EF4-FFF2-40B4-BE49-F238E27FC236}">
                  <a16:creationId xmlns:a16="http://schemas.microsoft.com/office/drawing/2014/main" id="{759EE3D9-6B65-0D0C-89CB-E73B39E531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99870" y="2481817"/>
              <a:ext cx="2123753" cy="1800000"/>
            </a:xfrm>
            <a:prstGeom prst="hexagon">
              <a:avLst/>
            </a:prstGeom>
            <a:blipFill dpi="0"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100" b="1" dirty="0"/>
            </a:p>
          </p:txBody>
        </p:sp>
        <p:sp>
          <p:nvSpPr>
            <p:cNvPr id="22" name="Sechseck 21">
              <a:extLst>
                <a:ext uri="{FF2B5EF4-FFF2-40B4-BE49-F238E27FC236}">
                  <a16:creationId xmlns:a16="http://schemas.microsoft.com/office/drawing/2014/main" id="{B24E6724-8C02-F6F2-F627-32B2D9D613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5576" y="1510467"/>
              <a:ext cx="2123753" cy="1800000"/>
            </a:xfrm>
            <a:prstGeom prst="hexagon">
              <a:avLst/>
            </a:prstGeom>
            <a:blipFill dpi="0"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100" b="1" dirty="0"/>
            </a:p>
          </p:txBody>
        </p:sp>
        <p:sp>
          <p:nvSpPr>
            <p:cNvPr id="23" name="Sechseck 22">
              <a:extLst>
                <a:ext uri="{FF2B5EF4-FFF2-40B4-BE49-F238E27FC236}">
                  <a16:creationId xmlns:a16="http://schemas.microsoft.com/office/drawing/2014/main" id="{1138C689-C2DC-4C02-56B9-BE37F900EA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87404" y="3396741"/>
              <a:ext cx="2123753" cy="1800000"/>
            </a:xfrm>
            <a:prstGeom prst="hexagon">
              <a:avLst/>
            </a:prstGeom>
            <a:blipFill dpi="0"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100" b="1" dirty="0"/>
            </a:p>
          </p:txBody>
        </p:sp>
        <p:sp>
          <p:nvSpPr>
            <p:cNvPr id="15" name="Sechseck 14">
              <a:extLst>
                <a:ext uri="{FF2B5EF4-FFF2-40B4-BE49-F238E27FC236}">
                  <a16:creationId xmlns:a16="http://schemas.microsoft.com/office/drawing/2014/main" id="{13516D75-5114-8ECD-1032-4027282C9D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23675" y="4388577"/>
              <a:ext cx="2123753" cy="1800000"/>
            </a:xfrm>
            <a:prstGeom prst="hexagon">
              <a:avLst/>
            </a:prstGeom>
            <a:blipFill dpi="0"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100" b="1" dirty="0"/>
            </a:p>
          </p:txBody>
        </p:sp>
        <p:sp>
          <p:nvSpPr>
            <p:cNvPr id="17" name="Sechseck 16">
              <a:extLst>
                <a:ext uri="{FF2B5EF4-FFF2-40B4-BE49-F238E27FC236}">
                  <a16:creationId xmlns:a16="http://schemas.microsoft.com/office/drawing/2014/main" id="{8A81FAD1-EAFF-CBC8-9BF9-531ADC8B1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87404" y="1510467"/>
              <a:ext cx="2123753" cy="1800000"/>
            </a:xfrm>
            <a:prstGeom prst="hexagon">
              <a:avLst/>
            </a:prstGeom>
            <a:blipFill dpi="0"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/>
            <a:lstStyle/>
            <a:p>
              <a:pPr algn="ctr"/>
              <a:endParaRPr lang="de-DE" sz="1100" b="1" dirty="0"/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6EAECA3-2BA7-C303-3634-72526B3B08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7C870F6-C1D3-1ABA-E455-5A417C4AAF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7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E03B9670-F46D-8B26-C2C1-19BE72DE9B7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109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E5AB5D8-41B9-4758-9D71-2AEADF0C09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E5AB5D8-41B9-4758-9D71-2AEADF0C09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E051B7-4B17-4304-9F3D-FD078856BA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AMRs </a:t>
            </a:r>
            <a:r>
              <a:rPr lang="de-DE" dirty="0" err="1"/>
              <a:t>im</a:t>
            </a:r>
            <a:r>
              <a:rPr lang="de-DE" dirty="0"/>
              <a:t> </a:t>
            </a:r>
            <a:r>
              <a:rPr lang="de-DE" dirty="0" err="1"/>
              <a:t>Werk</a:t>
            </a:r>
            <a:r>
              <a:rPr lang="de-DE" dirty="0"/>
              <a:t> Gerlingen 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12FF17C0-F7DD-4789-A2E1-85699A25E37A}"/>
              </a:ext>
            </a:extLst>
          </p:cNvPr>
          <p:cNvGrpSpPr/>
          <p:nvPr/>
        </p:nvGrpSpPr>
        <p:grpSpPr>
          <a:xfrm>
            <a:off x="532568" y="835901"/>
            <a:ext cx="3218907" cy="5725238"/>
            <a:chOff x="532568" y="835901"/>
            <a:chExt cx="3218907" cy="5725238"/>
          </a:xfrm>
        </p:grpSpPr>
        <p:sp>
          <p:nvSpPr>
            <p:cNvPr id="293" name="Textfeld 292">
              <a:extLst>
                <a:ext uri="{FF2B5EF4-FFF2-40B4-BE49-F238E27FC236}">
                  <a16:creationId xmlns:a16="http://schemas.microsoft.com/office/drawing/2014/main" id="{CD744630-5B1A-4FB8-BA31-9B4A41568CBA}"/>
                </a:ext>
              </a:extLst>
            </p:cNvPr>
            <p:cNvSpPr txBox="1"/>
            <p:nvPr/>
          </p:nvSpPr>
          <p:spPr bwMode="gray">
            <a:xfrm>
              <a:off x="532568" y="835901"/>
              <a:ext cx="3218907" cy="572523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200"/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 defTabSz="0">
                <a:defRPr/>
              </a:pPr>
              <a:endParaRPr lang="de-DE" sz="1400" b="1" kern="0" dirty="0">
                <a:solidFill>
                  <a:schemeClr val="bg1"/>
                </a:solidFill>
                <a:latin typeface="Segoe UI"/>
              </a:endParaRPr>
            </a:p>
          </p:txBody>
        </p:sp>
        <p:sp>
          <p:nvSpPr>
            <p:cNvPr id="311" name="Textfeld 310">
              <a:extLst>
                <a:ext uri="{FF2B5EF4-FFF2-40B4-BE49-F238E27FC236}">
                  <a16:creationId xmlns:a16="http://schemas.microsoft.com/office/drawing/2014/main" id="{8E1A8C92-8DC6-4808-9D08-70EFD1823ACF}"/>
                </a:ext>
              </a:extLst>
            </p:cNvPr>
            <p:cNvSpPr txBox="1"/>
            <p:nvPr/>
          </p:nvSpPr>
          <p:spPr>
            <a:xfrm>
              <a:off x="603860" y="4048883"/>
              <a:ext cx="19846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tx2"/>
                  </a:solidFill>
                </a:rPr>
                <a:t>Benefits</a:t>
              </a:r>
              <a:endParaRPr lang="de-DE" sz="1000" dirty="0"/>
            </a:p>
          </p:txBody>
        </p:sp>
        <p:sp>
          <p:nvSpPr>
            <p:cNvPr id="304" name="Textfeld 303">
              <a:extLst>
                <a:ext uri="{FF2B5EF4-FFF2-40B4-BE49-F238E27FC236}">
                  <a16:creationId xmlns:a16="http://schemas.microsoft.com/office/drawing/2014/main" id="{F79DE00C-5E55-4444-94F0-80DEA4F93EC4}"/>
                </a:ext>
              </a:extLst>
            </p:cNvPr>
            <p:cNvSpPr txBox="1"/>
            <p:nvPr/>
          </p:nvSpPr>
          <p:spPr>
            <a:xfrm>
              <a:off x="587082" y="2348022"/>
              <a:ext cx="231889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tx2"/>
                  </a:solidFill>
                </a:rPr>
                <a:t>Transportintervall</a:t>
              </a:r>
            </a:p>
          </p:txBody>
        </p:sp>
        <p:sp>
          <p:nvSpPr>
            <p:cNvPr id="294" name="Textfeld 293">
              <a:extLst>
                <a:ext uri="{FF2B5EF4-FFF2-40B4-BE49-F238E27FC236}">
                  <a16:creationId xmlns:a16="http://schemas.microsoft.com/office/drawing/2014/main" id="{6868014B-DBB0-43C0-BFAB-9B81346E46BE}"/>
                </a:ext>
              </a:extLst>
            </p:cNvPr>
            <p:cNvSpPr txBox="1"/>
            <p:nvPr/>
          </p:nvSpPr>
          <p:spPr bwMode="gray">
            <a:xfrm>
              <a:off x="535257" y="835901"/>
              <a:ext cx="3216218" cy="271846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accent3"/>
                </a:gs>
              </a:gsLst>
              <a:lin ang="10800000" scaled="1"/>
              <a:tileRect/>
            </a:gradFill>
            <a:ln w="190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200"/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 defTabSz="0">
                <a:defRPr/>
              </a:pPr>
              <a:r>
                <a:rPr lang="de-DE" sz="1400" b="1" kern="0" dirty="0">
                  <a:solidFill>
                    <a:schemeClr val="bg1"/>
                  </a:solidFill>
                  <a:latin typeface="Segoe UI"/>
                </a:rPr>
                <a:t>Ausbaustufe 1</a:t>
              </a:r>
            </a:p>
          </p:txBody>
        </p:sp>
        <p:sp>
          <p:nvSpPr>
            <p:cNvPr id="303" name="Textfeld 302">
              <a:extLst>
                <a:ext uri="{FF2B5EF4-FFF2-40B4-BE49-F238E27FC236}">
                  <a16:creationId xmlns:a16="http://schemas.microsoft.com/office/drawing/2014/main" id="{A0F3CA1A-02FF-405C-AC71-13FFAFD082EB}"/>
                </a:ext>
              </a:extLst>
            </p:cNvPr>
            <p:cNvSpPr txBox="1"/>
            <p:nvPr/>
          </p:nvSpPr>
          <p:spPr>
            <a:xfrm>
              <a:off x="861034" y="5625921"/>
              <a:ext cx="2384665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dirty="0"/>
                <a:t>1 AGV 		   35 T€</a:t>
              </a:r>
            </a:p>
            <a:p>
              <a:pPr algn="l"/>
              <a:r>
                <a:rPr lang="de-DE" sz="1000" dirty="0"/>
                <a:t>1 </a:t>
              </a:r>
              <a:r>
                <a:rPr lang="de-DE" sz="1000" dirty="0" err="1"/>
                <a:t>autom</a:t>
              </a:r>
              <a:r>
                <a:rPr lang="de-DE" sz="1000" dirty="0"/>
                <a:t>. Ladestation	   26 T€</a:t>
              </a:r>
            </a:p>
            <a:p>
              <a:pPr algn="l"/>
              <a:endParaRPr lang="de-DE" sz="1000" dirty="0"/>
            </a:p>
            <a:p>
              <a:pPr algn="l"/>
              <a:endParaRPr lang="de-DE" sz="1000" dirty="0"/>
            </a:p>
            <a:p>
              <a:pPr algn="l"/>
              <a:r>
                <a:rPr lang="de-DE" sz="1000" b="1" dirty="0"/>
                <a:t>Gesamt		~ 61 T€</a:t>
              </a:r>
              <a:endParaRPr lang="de-DE" sz="1000" dirty="0"/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16168720-14CE-4661-9415-FA187E4E57B4}"/>
                </a:ext>
              </a:extLst>
            </p:cNvPr>
            <p:cNvGrpSpPr/>
            <p:nvPr/>
          </p:nvGrpSpPr>
          <p:grpSpPr>
            <a:xfrm>
              <a:off x="1030327" y="4297270"/>
              <a:ext cx="1960102" cy="853243"/>
              <a:chOff x="1030327" y="4297270"/>
              <a:chExt cx="1960102" cy="853243"/>
            </a:xfrm>
          </p:grpSpPr>
          <p:grpSp>
            <p:nvGrpSpPr>
              <p:cNvPr id="18" name="Gruppieren 17">
                <a:extLst>
                  <a:ext uri="{FF2B5EF4-FFF2-40B4-BE49-F238E27FC236}">
                    <a16:creationId xmlns:a16="http://schemas.microsoft.com/office/drawing/2014/main" id="{9B0238F4-0CEA-4BF8-82BA-84ED44BD166B}"/>
                  </a:ext>
                </a:extLst>
              </p:cNvPr>
              <p:cNvGrpSpPr/>
              <p:nvPr/>
            </p:nvGrpSpPr>
            <p:grpSpPr>
              <a:xfrm>
                <a:off x="1030327" y="4297270"/>
                <a:ext cx="1482363" cy="853243"/>
                <a:chOff x="1030327" y="4297270"/>
                <a:chExt cx="1482363" cy="853243"/>
              </a:xfrm>
            </p:grpSpPr>
            <p:sp>
              <p:nvSpPr>
                <p:cNvPr id="305" name="Textfeld 304">
                  <a:extLst>
                    <a:ext uri="{FF2B5EF4-FFF2-40B4-BE49-F238E27FC236}">
                      <a16:creationId xmlns:a16="http://schemas.microsoft.com/office/drawing/2014/main" id="{CBAB6960-F7FD-4E98-952B-2CA4C630F740}"/>
                    </a:ext>
                  </a:extLst>
                </p:cNvPr>
                <p:cNvSpPr txBox="1"/>
                <p:nvPr/>
              </p:nvSpPr>
              <p:spPr>
                <a:xfrm>
                  <a:off x="1400882" y="4938229"/>
                  <a:ext cx="1111808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Bedarfsgesteuert</a:t>
                  </a:r>
                </a:p>
              </p:txBody>
            </p:sp>
            <p:sp>
              <p:nvSpPr>
                <p:cNvPr id="306" name="Textfeld 305">
                  <a:extLst>
                    <a:ext uri="{FF2B5EF4-FFF2-40B4-BE49-F238E27FC236}">
                      <a16:creationId xmlns:a16="http://schemas.microsoft.com/office/drawing/2014/main" id="{0B7A96EA-7F4B-4495-9BB7-95879A35BDBE}"/>
                    </a:ext>
                  </a:extLst>
                </p:cNvPr>
                <p:cNvSpPr txBox="1"/>
                <p:nvPr/>
              </p:nvSpPr>
              <p:spPr>
                <a:xfrm>
                  <a:off x="1396747" y="4638091"/>
                  <a:ext cx="1047570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Geschwindigkeit</a:t>
                  </a:r>
                </a:p>
              </p:txBody>
            </p:sp>
            <p:sp>
              <p:nvSpPr>
                <p:cNvPr id="307" name="Textfeld 306">
                  <a:extLst>
                    <a:ext uri="{FF2B5EF4-FFF2-40B4-BE49-F238E27FC236}">
                      <a16:creationId xmlns:a16="http://schemas.microsoft.com/office/drawing/2014/main" id="{7D5C1018-21D3-4842-8289-5EA468DC179D}"/>
                    </a:ext>
                  </a:extLst>
                </p:cNvPr>
                <p:cNvSpPr txBox="1"/>
                <p:nvPr/>
              </p:nvSpPr>
              <p:spPr>
                <a:xfrm>
                  <a:off x="1394850" y="4337953"/>
                  <a:ext cx="1031423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dirty="0"/>
                    <a:t>Transparenz</a:t>
                  </a:r>
                </a:p>
              </p:txBody>
            </p:sp>
            <p:pic>
              <p:nvPicPr>
                <p:cNvPr id="308" name="Grafik 307" descr="Recherche">
                  <a:extLst>
                    <a:ext uri="{FF2B5EF4-FFF2-40B4-BE49-F238E27FC236}">
                      <a16:creationId xmlns:a16="http://schemas.microsoft.com/office/drawing/2014/main" id="{F4B95EE2-871C-4597-BFFF-2397D73A09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9120" y="4297270"/>
                  <a:ext cx="235254" cy="235254"/>
                </a:xfrm>
                <a:prstGeom prst="rect">
                  <a:avLst/>
                </a:prstGeom>
              </p:spPr>
            </p:pic>
            <p:pic>
              <p:nvPicPr>
                <p:cNvPr id="309" name="Grafik 308" descr="Messgerät">
                  <a:extLst>
                    <a:ext uri="{FF2B5EF4-FFF2-40B4-BE49-F238E27FC236}">
                      <a16:creationId xmlns:a16="http://schemas.microsoft.com/office/drawing/2014/main" id="{C404BF63-233D-4338-A80A-56A8DAC1C9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2553" y="4574006"/>
                  <a:ext cx="235254" cy="235254"/>
                </a:xfrm>
                <a:prstGeom prst="rect">
                  <a:avLst/>
                </a:prstGeom>
              </p:spPr>
            </p:pic>
            <p:pic>
              <p:nvPicPr>
                <p:cNvPr id="310" name="Grafik 309" descr="Kreise mit Pfeilen">
                  <a:extLst>
                    <a:ext uri="{FF2B5EF4-FFF2-40B4-BE49-F238E27FC236}">
                      <a16:creationId xmlns:a16="http://schemas.microsoft.com/office/drawing/2014/main" id="{B224F808-80C4-45A8-9031-A9B91CD8CC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0327" y="4847098"/>
                  <a:ext cx="303415" cy="303415"/>
                </a:xfrm>
                <a:prstGeom prst="rect">
                  <a:avLst/>
                </a:prstGeom>
              </p:spPr>
            </p:pic>
          </p:grpSp>
          <p:sp>
            <p:nvSpPr>
              <p:cNvPr id="313" name="Freeform 2467">
                <a:extLst>
                  <a:ext uri="{FF2B5EF4-FFF2-40B4-BE49-F238E27FC236}">
                    <a16:creationId xmlns:a16="http://schemas.microsoft.com/office/drawing/2014/main" id="{A1D17592-7E14-4EB1-BE0D-D744B80B7FD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2821272" y="4665105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14" name="Ellipse 313">
                <a:extLst>
                  <a:ext uri="{FF2B5EF4-FFF2-40B4-BE49-F238E27FC236}">
                    <a16:creationId xmlns:a16="http://schemas.microsoft.com/office/drawing/2014/main" id="{55D9BD7A-6E24-4D0D-8F7F-9880267D8C89}"/>
                  </a:ext>
                </a:extLst>
              </p:cNvPr>
              <p:cNvSpPr/>
              <p:nvPr/>
            </p:nvSpPr>
            <p:spPr>
              <a:xfrm>
                <a:off x="2776575" y="4623162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cxnSp>
            <p:nvCxnSpPr>
              <p:cNvPr id="321" name="Gerader Verbinder 320">
                <a:extLst>
                  <a:ext uri="{FF2B5EF4-FFF2-40B4-BE49-F238E27FC236}">
                    <a16:creationId xmlns:a16="http://schemas.microsoft.com/office/drawing/2014/main" id="{B4D47E88-5B89-4003-A95D-7A9B7704D6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5007407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r Verbinder 321">
                <a:extLst>
                  <a:ext uri="{FF2B5EF4-FFF2-40B4-BE49-F238E27FC236}">
                    <a16:creationId xmlns:a16="http://schemas.microsoft.com/office/drawing/2014/main" id="{C9C2E2D0-C445-42D6-A5E9-F617A75F29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5059794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4" name="Gerader Verbinder 323">
                <a:extLst>
                  <a:ext uri="{FF2B5EF4-FFF2-40B4-BE49-F238E27FC236}">
                    <a16:creationId xmlns:a16="http://schemas.microsoft.com/office/drawing/2014/main" id="{DE14D8DB-8F2E-4FB8-BE42-645DDE987B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4381847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Gerader Verbinder 324">
                <a:extLst>
                  <a:ext uri="{FF2B5EF4-FFF2-40B4-BE49-F238E27FC236}">
                    <a16:creationId xmlns:a16="http://schemas.microsoft.com/office/drawing/2014/main" id="{6E4A0EF2-1DBF-453A-AE4A-03D7C7219E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0824" y="4434234"/>
                <a:ext cx="229605" cy="0"/>
              </a:xfrm>
              <a:prstGeom prst="line">
                <a:avLst/>
              </a:prstGeom>
              <a:ln w="28575" cap="flat" cmpd="sng" algn="ctr">
                <a:solidFill>
                  <a:srgbClr val="858585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26" name="Picture 2" descr="SDV für Materialumschlag - OTTO 1OO - OTTO Motors - elektrisch">
              <a:extLst>
                <a:ext uri="{FF2B5EF4-FFF2-40B4-BE49-F238E27FC236}">
                  <a16:creationId xmlns:a16="http://schemas.microsoft.com/office/drawing/2014/main" id="{AB051D32-A03D-4E83-8A6B-44EE738D7DE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" t="21806" r="-6" b="20534"/>
            <a:stretch/>
          </p:blipFill>
          <p:spPr bwMode="auto">
            <a:xfrm>
              <a:off x="1362898" y="1340078"/>
              <a:ext cx="1420064" cy="8188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7" name="Textfeld 346">
              <a:extLst>
                <a:ext uri="{FF2B5EF4-FFF2-40B4-BE49-F238E27FC236}">
                  <a16:creationId xmlns:a16="http://schemas.microsoft.com/office/drawing/2014/main" id="{0C6A146B-B42F-497C-BD54-FAB29D616942}"/>
                </a:ext>
              </a:extLst>
            </p:cNvPr>
            <p:cNvSpPr txBox="1"/>
            <p:nvPr/>
          </p:nvSpPr>
          <p:spPr>
            <a:xfrm>
              <a:off x="577894" y="5363439"/>
              <a:ext cx="19846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sz="1000" b="1" u="sng" dirty="0">
                  <a:solidFill>
                    <a:schemeClr val="tx2"/>
                  </a:solidFill>
                </a:rPr>
                <a:t>Kosten angefallen</a:t>
              </a:r>
              <a:endParaRPr lang="de-DE" sz="1000" dirty="0"/>
            </a:p>
          </p:txBody>
        </p: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1C16F744-09CB-442A-A605-6DBF70671738}"/>
                </a:ext>
              </a:extLst>
            </p:cNvPr>
            <p:cNvGrpSpPr/>
            <p:nvPr/>
          </p:nvGrpSpPr>
          <p:grpSpPr>
            <a:xfrm>
              <a:off x="1000593" y="2615972"/>
              <a:ext cx="2391918" cy="1211748"/>
              <a:chOff x="955002" y="2615972"/>
              <a:chExt cx="2391918" cy="1211748"/>
            </a:xfrm>
          </p:grpSpPr>
          <p:sp>
            <p:nvSpPr>
              <p:cNvPr id="3" name="Rechteck: abgerundete Ecken 2">
                <a:extLst>
                  <a:ext uri="{FF2B5EF4-FFF2-40B4-BE49-F238E27FC236}">
                    <a16:creationId xmlns:a16="http://schemas.microsoft.com/office/drawing/2014/main" id="{4910CDE6-2667-4A2B-B621-A9C6C0943621}"/>
                  </a:ext>
                </a:extLst>
              </p:cNvPr>
              <p:cNvSpPr/>
              <p:nvPr/>
            </p:nvSpPr>
            <p:spPr>
              <a:xfrm>
                <a:off x="1012525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47" name="Rechteck: abgerundete Ecken 146">
                <a:extLst>
                  <a:ext uri="{FF2B5EF4-FFF2-40B4-BE49-F238E27FC236}">
                    <a16:creationId xmlns:a16="http://schemas.microsoft.com/office/drawing/2014/main" id="{8C74C9DC-0F99-4D5F-AE6E-BD595B03F328}"/>
                  </a:ext>
                </a:extLst>
              </p:cNvPr>
              <p:cNvSpPr/>
              <p:nvPr/>
            </p:nvSpPr>
            <p:spPr>
              <a:xfrm>
                <a:off x="1111100" y="3505654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48" name="Rechteck: abgerundete Ecken 147">
                <a:extLst>
                  <a:ext uri="{FF2B5EF4-FFF2-40B4-BE49-F238E27FC236}">
                    <a16:creationId xmlns:a16="http://schemas.microsoft.com/office/drawing/2014/main" id="{034F35AF-5449-4C9E-8E21-89FAC0BAE92F}"/>
                  </a:ext>
                </a:extLst>
              </p:cNvPr>
              <p:cNvSpPr/>
              <p:nvPr/>
            </p:nvSpPr>
            <p:spPr>
              <a:xfrm>
                <a:off x="1189126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49" name="Rechteck: abgerundete Ecken 148">
                <a:extLst>
                  <a:ext uri="{FF2B5EF4-FFF2-40B4-BE49-F238E27FC236}">
                    <a16:creationId xmlns:a16="http://schemas.microsoft.com/office/drawing/2014/main" id="{D460750A-3C68-419D-BFFA-1851E2E1EA8F}"/>
                  </a:ext>
                </a:extLst>
              </p:cNvPr>
              <p:cNvSpPr/>
              <p:nvPr/>
            </p:nvSpPr>
            <p:spPr>
              <a:xfrm>
                <a:off x="1288612" y="3505908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50" name="Rechteck: abgerundete Ecken 149">
                <a:extLst>
                  <a:ext uri="{FF2B5EF4-FFF2-40B4-BE49-F238E27FC236}">
                    <a16:creationId xmlns:a16="http://schemas.microsoft.com/office/drawing/2014/main" id="{F069F003-DDC7-4183-AE13-4A8FBC4E6D75}"/>
                  </a:ext>
                </a:extLst>
              </p:cNvPr>
              <p:cNvSpPr/>
              <p:nvPr/>
            </p:nvSpPr>
            <p:spPr>
              <a:xfrm>
                <a:off x="1365727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84" name="Rechteck: abgerundete Ecken 183">
                <a:extLst>
                  <a:ext uri="{FF2B5EF4-FFF2-40B4-BE49-F238E27FC236}">
                    <a16:creationId xmlns:a16="http://schemas.microsoft.com/office/drawing/2014/main" id="{B2F20D70-0F46-41C0-AA24-0820F799BF15}"/>
                  </a:ext>
                </a:extLst>
              </p:cNvPr>
              <p:cNvSpPr/>
              <p:nvPr/>
            </p:nvSpPr>
            <p:spPr>
              <a:xfrm>
                <a:off x="1796843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97" name="Rechteck: abgerundete Ecken 196">
                <a:extLst>
                  <a:ext uri="{FF2B5EF4-FFF2-40B4-BE49-F238E27FC236}">
                    <a16:creationId xmlns:a16="http://schemas.microsoft.com/office/drawing/2014/main" id="{FFE831F4-D06B-46AD-8D62-1BA6EECDB890}"/>
                  </a:ext>
                </a:extLst>
              </p:cNvPr>
              <p:cNvSpPr/>
              <p:nvPr/>
            </p:nvSpPr>
            <p:spPr>
              <a:xfrm>
                <a:off x="1895418" y="3505654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98" name="Rechteck: abgerundete Ecken 197">
                <a:extLst>
                  <a:ext uri="{FF2B5EF4-FFF2-40B4-BE49-F238E27FC236}">
                    <a16:creationId xmlns:a16="http://schemas.microsoft.com/office/drawing/2014/main" id="{D4BA5CEE-F685-49AE-BA5F-BA8355471E53}"/>
                  </a:ext>
                </a:extLst>
              </p:cNvPr>
              <p:cNvSpPr/>
              <p:nvPr/>
            </p:nvSpPr>
            <p:spPr>
              <a:xfrm>
                <a:off x="1973444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99" name="Rechteck: abgerundete Ecken 198">
                <a:extLst>
                  <a:ext uri="{FF2B5EF4-FFF2-40B4-BE49-F238E27FC236}">
                    <a16:creationId xmlns:a16="http://schemas.microsoft.com/office/drawing/2014/main" id="{A504E7BC-04C6-443D-A7C7-D976091388CD}"/>
                  </a:ext>
                </a:extLst>
              </p:cNvPr>
              <p:cNvSpPr/>
              <p:nvPr/>
            </p:nvSpPr>
            <p:spPr>
              <a:xfrm>
                <a:off x="2072930" y="3505908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200" name="Rechteck: abgerundete Ecken 199">
                <a:extLst>
                  <a:ext uri="{FF2B5EF4-FFF2-40B4-BE49-F238E27FC236}">
                    <a16:creationId xmlns:a16="http://schemas.microsoft.com/office/drawing/2014/main" id="{C386541E-E005-4186-ABAF-4CF7EE487FDE}"/>
                  </a:ext>
                </a:extLst>
              </p:cNvPr>
              <p:cNvSpPr/>
              <p:nvPr/>
            </p:nvSpPr>
            <p:spPr>
              <a:xfrm>
                <a:off x="2150045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201" name="Rechteck: abgerundete Ecken 200">
                <a:extLst>
                  <a:ext uri="{FF2B5EF4-FFF2-40B4-BE49-F238E27FC236}">
                    <a16:creationId xmlns:a16="http://schemas.microsoft.com/office/drawing/2014/main" id="{43A288CA-4FCC-4198-A5E5-98C8167D67EE}"/>
                  </a:ext>
                </a:extLst>
              </p:cNvPr>
              <p:cNvSpPr/>
              <p:nvPr/>
            </p:nvSpPr>
            <p:spPr>
              <a:xfrm>
                <a:off x="2579393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202" name="Rechteck: abgerundete Ecken 201">
                <a:extLst>
                  <a:ext uri="{FF2B5EF4-FFF2-40B4-BE49-F238E27FC236}">
                    <a16:creationId xmlns:a16="http://schemas.microsoft.com/office/drawing/2014/main" id="{9C49880B-90AC-4E00-9D47-5552239F0049}"/>
                  </a:ext>
                </a:extLst>
              </p:cNvPr>
              <p:cNvSpPr/>
              <p:nvPr/>
            </p:nvSpPr>
            <p:spPr>
              <a:xfrm>
                <a:off x="2677968" y="3505654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209" name="Rechteck: abgerundete Ecken 208">
                <a:extLst>
                  <a:ext uri="{FF2B5EF4-FFF2-40B4-BE49-F238E27FC236}">
                    <a16:creationId xmlns:a16="http://schemas.microsoft.com/office/drawing/2014/main" id="{E56591C8-CA8F-4DAC-8796-A1A4519B31B5}"/>
                  </a:ext>
                </a:extLst>
              </p:cNvPr>
              <p:cNvSpPr/>
              <p:nvPr/>
            </p:nvSpPr>
            <p:spPr>
              <a:xfrm>
                <a:off x="2755994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210" name="Rechteck: abgerundete Ecken 209">
                <a:extLst>
                  <a:ext uri="{FF2B5EF4-FFF2-40B4-BE49-F238E27FC236}">
                    <a16:creationId xmlns:a16="http://schemas.microsoft.com/office/drawing/2014/main" id="{E9C1757D-3EEF-4631-BFC6-D0742B1399E6}"/>
                  </a:ext>
                </a:extLst>
              </p:cNvPr>
              <p:cNvSpPr/>
              <p:nvPr/>
            </p:nvSpPr>
            <p:spPr>
              <a:xfrm>
                <a:off x="2855480" y="3505908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211" name="Rechteck: abgerundete Ecken 210">
                <a:extLst>
                  <a:ext uri="{FF2B5EF4-FFF2-40B4-BE49-F238E27FC236}">
                    <a16:creationId xmlns:a16="http://schemas.microsoft.com/office/drawing/2014/main" id="{D0A82BB6-32C9-4153-89FE-87B70EB18F67}"/>
                  </a:ext>
                </a:extLst>
              </p:cNvPr>
              <p:cNvSpPr/>
              <p:nvPr/>
            </p:nvSpPr>
            <p:spPr>
              <a:xfrm>
                <a:off x="2932595" y="3683720"/>
                <a:ext cx="144000" cy="14400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11" name="Pfeil: nach unten gekrümmt 10">
                <a:extLst>
                  <a:ext uri="{FF2B5EF4-FFF2-40B4-BE49-F238E27FC236}">
                    <a16:creationId xmlns:a16="http://schemas.microsoft.com/office/drawing/2014/main" id="{936D6CF2-6FE1-441E-B9B6-E98C4D5E6175}"/>
                  </a:ext>
                </a:extLst>
              </p:cNvPr>
              <p:cNvSpPr/>
              <p:nvPr/>
            </p:nvSpPr>
            <p:spPr>
              <a:xfrm>
                <a:off x="1486142" y="3433385"/>
                <a:ext cx="366160" cy="121924"/>
              </a:xfrm>
              <a:prstGeom prst="curvedDownArrow">
                <a:avLst>
                  <a:gd name="adj1" fmla="val 25000"/>
                  <a:gd name="adj2" fmla="val 95280"/>
                  <a:gd name="adj3" fmla="val 25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8" name="Pfeil: nach unten gekrümmt 327">
                <a:extLst>
                  <a:ext uri="{FF2B5EF4-FFF2-40B4-BE49-F238E27FC236}">
                    <a16:creationId xmlns:a16="http://schemas.microsoft.com/office/drawing/2014/main" id="{FC7736EA-9E53-4F26-84E6-00966BE87434}"/>
                  </a:ext>
                </a:extLst>
              </p:cNvPr>
              <p:cNvSpPr/>
              <p:nvPr/>
            </p:nvSpPr>
            <p:spPr>
              <a:xfrm>
                <a:off x="2288440" y="3433385"/>
                <a:ext cx="366160" cy="121924"/>
              </a:xfrm>
              <a:prstGeom prst="curvedDownArrow">
                <a:avLst>
                  <a:gd name="adj1" fmla="val 25000"/>
                  <a:gd name="adj2" fmla="val 95280"/>
                  <a:gd name="adj3" fmla="val 25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" name="Gruppieren 22">
                <a:extLst>
                  <a:ext uri="{FF2B5EF4-FFF2-40B4-BE49-F238E27FC236}">
                    <a16:creationId xmlns:a16="http://schemas.microsoft.com/office/drawing/2014/main" id="{381D597E-23F7-4DF8-93D9-78AA27B21176}"/>
                  </a:ext>
                </a:extLst>
              </p:cNvPr>
              <p:cNvGrpSpPr/>
              <p:nvPr/>
            </p:nvGrpSpPr>
            <p:grpSpPr>
              <a:xfrm>
                <a:off x="955002" y="2615972"/>
                <a:ext cx="2391918" cy="744575"/>
                <a:chOff x="955002" y="2615972"/>
                <a:chExt cx="2391918" cy="744575"/>
              </a:xfrm>
            </p:grpSpPr>
            <p:sp>
              <p:nvSpPr>
                <p:cNvPr id="296" name="Rechteck 295">
                  <a:extLst>
                    <a:ext uri="{FF2B5EF4-FFF2-40B4-BE49-F238E27FC236}">
                      <a16:creationId xmlns:a16="http://schemas.microsoft.com/office/drawing/2014/main" id="{1324ED65-A006-4C86-AF12-6946FF3BBA6B}"/>
                    </a:ext>
                  </a:extLst>
                </p:cNvPr>
                <p:cNvSpPr/>
                <p:nvPr/>
              </p:nvSpPr>
              <p:spPr>
                <a:xfrm>
                  <a:off x="1013563" y="3042648"/>
                  <a:ext cx="1741440" cy="180000"/>
                </a:xfrm>
                <a:prstGeom prst="rect">
                  <a:avLst/>
                </a:prstGeom>
                <a:noFill/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de-DE" sz="10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97" name="Rechteck 296">
                  <a:extLst>
                    <a:ext uri="{FF2B5EF4-FFF2-40B4-BE49-F238E27FC236}">
                      <a16:creationId xmlns:a16="http://schemas.microsoft.com/office/drawing/2014/main" id="{30FEE31D-E1C0-4DDE-965D-E62AF2162652}"/>
                    </a:ext>
                  </a:extLst>
                </p:cNvPr>
                <p:cNvSpPr/>
                <p:nvPr/>
              </p:nvSpPr>
              <p:spPr>
                <a:xfrm>
                  <a:off x="956172" y="2739233"/>
                  <a:ext cx="1800000" cy="18000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r>
                    <a:rPr lang="de-DE" sz="1000" b="1" dirty="0"/>
                    <a:t>Ø alle 30 min</a:t>
                  </a:r>
                </a:p>
              </p:txBody>
            </p:sp>
            <p:sp>
              <p:nvSpPr>
                <p:cNvPr id="298" name="Rechteck 297">
                  <a:extLst>
                    <a:ext uri="{FF2B5EF4-FFF2-40B4-BE49-F238E27FC236}">
                      <a16:creationId xmlns:a16="http://schemas.microsoft.com/office/drawing/2014/main" id="{56130F54-1FF9-4F6D-A527-873D76C13993}"/>
                    </a:ext>
                  </a:extLst>
                </p:cNvPr>
                <p:cNvSpPr/>
                <p:nvPr/>
              </p:nvSpPr>
              <p:spPr>
                <a:xfrm>
                  <a:off x="955003" y="3042683"/>
                  <a:ext cx="900000" cy="179965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endParaRPr lang="de-DE" sz="1000" b="1" dirty="0"/>
                </a:p>
              </p:txBody>
            </p:sp>
            <p:cxnSp>
              <p:nvCxnSpPr>
                <p:cNvPr id="299" name="Gerader Verbinder 298">
                  <a:extLst>
                    <a:ext uri="{FF2B5EF4-FFF2-40B4-BE49-F238E27FC236}">
                      <a16:creationId xmlns:a16="http://schemas.microsoft.com/office/drawing/2014/main" id="{40B0F300-E0DB-4FAE-9F7E-8326EBB94B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955002" y="2615972"/>
                  <a:ext cx="1169" cy="744575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0" name="Verbinder: gewinkelt 299">
                  <a:extLst>
                    <a:ext uri="{FF2B5EF4-FFF2-40B4-BE49-F238E27FC236}">
                      <a16:creationId xmlns:a16="http://schemas.microsoft.com/office/drawing/2014/main" id="{7A21EEA2-53AC-43F7-B0E4-BCDC0A73D5B6}"/>
                    </a:ext>
                  </a:extLst>
                </p:cNvPr>
                <p:cNvCxnSpPr>
                  <a:stCxn id="297" idx="3"/>
                  <a:endCxn id="296" idx="3"/>
                </p:cNvCxnSpPr>
                <p:nvPr/>
              </p:nvCxnSpPr>
              <p:spPr>
                <a:xfrm flipH="1">
                  <a:off x="2755003" y="2829233"/>
                  <a:ext cx="1169" cy="303415"/>
                </a:xfrm>
                <a:prstGeom prst="bentConnector3">
                  <a:avLst>
                    <a:gd name="adj1" fmla="val -14666382"/>
                  </a:avLst>
                </a:prstGeom>
                <a:ln w="19050">
                  <a:solidFill>
                    <a:schemeClr val="tx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1" name="Textfeld 300">
                  <a:extLst>
                    <a:ext uri="{FF2B5EF4-FFF2-40B4-BE49-F238E27FC236}">
                      <a16:creationId xmlns:a16="http://schemas.microsoft.com/office/drawing/2014/main" id="{E4F37B5F-7863-4CC2-971C-7E650FC50104}"/>
                    </a:ext>
                  </a:extLst>
                </p:cNvPr>
                <p:cNvSpPr txBox="1"/>
                <p:nvPr/>
              </p:nvSpPr>
              <p:spPr>
                <a:xfrm>
                  <a:off x="1025475" y="3060748"/>
                  <a:ext cx="900000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de-DE" sz="1000" b="1" dirty="0">
                      <a:solidFill>
                        <a:schemeClr val="tx2"/>
                      </a:solidFill>
                    </a:rPr>
                    <a:t>Ø alle 15 min</a:t>
                  </a:r>
                </a:p>
              </p:txBody>
            </p:sp>
            <p:sp>
              <p:nvSpPr>
                <p:cNvPr id="302" name="Textfeld 301">
                  <a:extLst>
                    <a:ext uri="{FF2B5EF4-FFF2-40B4-BE49-F238E27FC236}">
                      <a16:creationId xmlns:a16="http://schemas.microsoft.com/office/drawing/2014/main" id="{37A773FA-B03A-4907-A85E-37F8141A8676}"/>
                    </a:ext>
                  </a:extLst>
                </p:cNvPr>
                <p:cNvSpPr txBox="1"/>
                <p:nvPr/>
              </p:nvSpPr>
              <p:spPr>
                <a:xfrm>
                  <a:off x="2780437" y="2907535"/>
                  <a:ext cx="566483" cy="153888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1000" b="1" dirty="0">
                      <a:solidFill>
                        <a:srgbClr val="00B050"/>
                      </a:solidFill>
                    </a:rPr>
                    <a:t>- 50 %</a:t>
                  </a:r>
                </a:p>
              </p:txBody>
            </p:sp>
            <p:sp>
              <p:nvSpPr>
                <p:cNvPr id="358" name="Textfeld 357">
                  <a:extLst>
                    <a:ext uri="{FF2B5EF4-FFF2-40B4-BE49-F238E27FC236}">
                      <a16:creationId xmlns:a16="http://schemas.microsoft.com/office/drawing/2014/main" id="{92F883C8-FD9A-4777-844C-428224C35FD4}"/>
                    </a:ext>
                  </a:extLst>
                </p:cNvPr>
                <p:cNvSpPr txBox="1"/>
                <p:nvPr/>
              </p:nvSpPr>
              <p:spPr>
                <a:xfrm>
                  <a:off x="2971224" y="3111725"/>
                  <a:ext cx="266634" cy="12311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800" dirty="0">
                      <a:solidFill>
                        <a:srgbClr val="707070"/>
                      </a:solidFill>
                    </a:rPr>
                    <a:t>neu</a:t>
                  </a:r>
                </a:p>
              </p:txBody>
            </p:sp>
            <p:sp>
              <p:nvSpPr>
                <p:cNvPr id="359" name="Textfeld 358">
                  <a:extLst>
                    <a:ext uri="{FF2B5EF4-FFF2-40B4-BE49-F238E27FC236}">
                      <a16:creationId xmlns:a16="http://schemas.microsoft.com/office/drawing/2014/main" id="{4297CCA8-28B5-428F-8A10-4EE013076E5D}"/>
                    </a:ext>
                  </a:extLst>
                </p:cNvPr>
                <p:cNvSpPr txBox="1"/>
                <p:nvPr/>
              </p:nvSpPr>
              <p:spPr>
                <a:xfrm>
                  <a:off x="2971224" y="2730792"/>
                  <a:ext cx="266634" cy="12311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de-DE" sz="800" dirty="0">
                      <a:solidFill>
                        <a:srgbClr val="707070"/>
                      </a:solidFill>
                    </a:rPr>
                    <a:t>alt</a:t>
                  </a:r>
                </a:p>
              </p:txBody>
            </p:sp>
          </p:grpSp>
        </p:grpSp>
      </p:grpSp>
      <p:sp>
        <p:nvSpPr>
          <p:cNvPr id="142" name="Textfeld 141">
            <a:extLst>
              <a:ext uri="{FF2B5EF4-FFF2-40B4-BE49-F238E27FC236}">
                <a16:creationId xmlns:a16="http://schemas.microsoft.com/office/drawing/2014/main" id="{3C03EA5A-D8C2-42DC-9500-CE52BF525275}"/>
              </a:ext>
            </a:extLst>
          </p:cNvPr>
          <p:cNvSpPr txBox="1"/>
          <p:nvPr/>
        </p:nvSpPr>
        <p:spPr bwMode="gray">
          <a:xfrm>
            <a:off x="4164372" y="835901"/>
            <a:ext cx="3218907" cy="5725238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endParaRPr lang="de-DE" sz="1400" b="1" kern="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90E3219B-AA2B-43EA-98E4-9ED9D7F53991}"/>
              </a:ext>
            </a:extLst>
          </p:cNvPr>
          <p:cNvSpPr txBox="1"/>
          <p:nvPr/>
        </p:nvSpPr>
        <p:spPr bwMode="gray">
          <a:xfrm>
            <a:off x="4167061" y="835901"/>
            <a:ext cx="3216218" cy="27184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accent3"/>
              </a:gs>
            </a:gsLst>
            <a:lin ang="10800000" scaled="1"/>
            <a:tileRect/>
          </a:gradFill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r>
              <a:rPr lang="de-DE" sz="1400" b="1" kern="0" dirty="0">
                <a:solidFill>
                  <a:schemeClr val="bg1"/>
                </a:solidFill>
                <a:latin typeface="Segoe UI"/>
              </a:rPr>
              <a:t>Ausbaustufe 2</a:t>
            </a: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09DF55E9-BBE2-49D5-AB15-D0C1E7765158}"/>
              </a:ext>
            </a:extLst>
          </p:cNvPr>
          <p:cNvSpPr txBox="1"/>
          <p:nvPr/>
        </p:nvSpPr>
        <p:spPr>
          <a:xfrm>
            <a:off x="4492838" y="5625921"/>
            <a:ext cx="2384665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00" dirty="0"/>
              <a:t>1 weiterer AGV 		     35 T€</a:t>
            </a:r>
          </a:p>
          <a:p>
            <a:pPr algn="l"/>
            <a:r>
              <a:rPr lang="de-DE" sz="1000" dirty="0"/>
              <a:t>1 Aufbau		     87 T€</a:t>
            </a:r>
          </a:p>
          <a:p>
            <a:pPr algn="l"/>
            <a:r>
              <a:rPr lang="de-DE" sz="1000" dirty="0"/>
              <a:t>Peripherie		     50 T€</a:t>
            </a:r>
          </a:p>
          <a:p>
            <a:pPr algn="l"/>
            <a:endParaRPr lang="de-DE" sz="1000" dirty="0"/>
          </a:p>
          <a:p>
            <a:pPr algn="l"/>
            <a:r>
              <a:rPr lang="de-DE" sz="1000" b="1" dirty="0"/>
              <a:t>Gesamt		~ 172 T€</a:t>
            </a:r>
            <a:endParaRPr lang="de-DE" sz="1000" dirty="0"/>
          </a:p>
        </p:txBody>
      </p:sp>
      <p:sp>
        <p:nvSpPr>
          <p:cNvPr id="186" name="Textfeld 185">
            <a:extLst>
              <a:ext uri="{FF2B5EF4-FFF2-40B4-BE49-F238E27FC236}">
                <a16:creationId xmlns:a16="http://schemas.microsoft.com/office/drawing/2014/main" id="{D1916E11-6BD0-4D7E-9E53-EFAA3426E503}"/>
              </a:ext>
            </a:extLst>
          </p:cNvPr>
          <p:cNvSpPr txBox="1"/>
          <p:nvPr/>
        </p:nvSpPr>
        <p:spPr>
          <a:xfrm>
            <a:off x="4235664" y="2348022"/>
            <a:ext cx="23188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>
                <a:solidFill>
                  <a:schemeClr val="tx2"/>
                </a:solidFill>
              </a:rPr>
              <a:t>Transportintervall</a:t>
            </a: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926BC9CC-EA1E-4F64-A856-6151FB547913}"/>
              </a:ext>
            </a:extLst>
          </p:cNvPr>
          <p:cNvSpPr txBox="1"/>
          <p:nvPr/>
        </p:nvSpPr>
        <p:spPr>
          <a:xfrm>
            <a:off x="4235664" y="4048883"/>
            <a:ext cx="19846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00" b="1" u="sng" dirty="0">
                <a:solidFill>
                  <a:schemeClr val="tx2"/>
                </a:solidFill>
              </a:rPr>
              <a:t>Benefits</a:t>
            </a:r>
            <a:endParaRPr lang="de-DE" sz="1000" dirty="0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1FBC24F-6272-492B-B5D8-D2C99E93E48E}"/>
              </a:ext>
            </a:extLst>
          </p:cNvPr>
          <p:cNvGrpSpPr/>
          <p:nvPr/>
        </p:nvGrpSpPr>
        <p:grpSpPr>
          <a:xfrm>
            <a:off x="4722077" y="4297270"/>
            <a:ext cx="2134071" cy="853243"/>
            <a:chOff x="4722077" y="4297270"/>
            <a:chExt cx="2134071" cy="853243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765A726-5C50-490E-A993-A69ACE314803}"/>
                </a:ext>
              </a:extLst>
            </p:cNvPr>
            <p:cNvGrpSpPr/>
            <p:nvPr/>
          </p:nvGrpSpPr>
          <p:grpSpPr>
            <a:xfrm>
              <a:off x="4722077" y="4297270"/>
              <a:ext cx="1413991" cy="853243"/>
              <a:chOff x="4722077" y="4355993"/>
              <a:chExt cx="1413991" cy="853243"/>
            </a:xfrm>
          </p:grpSpPr>
          <p:sp>
            <p:nvSpPr>
              <p:cNvPr id="187" name="Textfeld 186">
                <a:extLst>
                  <a:ext uri="{FF2B5EF4-FFF2-40B4-BE49-F238E27FC236}">
                    <a16:creationId xmlns:a16="http://schemas.microsoft.com/office/drawing/2014/main" id="{3736F1FE-51C5-4F2F-B0E8-A3A265DE8FE6}"/>
                  </a:ext>
                </a:extLst>
              </p:cNvPr>
              <p:cNvSpPr txBox="1"/>
              <p:nvPr/>
            </p:nvSpPr>
            <p:spPr>
              <a:xfrm>
                <a:off x="5092632" y="4996952"/>
                <a:ext cx="1043436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000" dirty="0"/>
                  <a:t>Bedarfsgesteuert</a:t>
                </a:r>
              </a:p>
            </p:txBody>
          </p:sp>
          <p:sp>
            <p:nvSpPr>
              <p:cNvPr id="188" name="Textfeld 187">
                <a:extLst>
                  <a:ext uri="{FF2B5EF4-FFF2-40B4-BE49-F238E27FC236}">
                    <a16:creationId xmlns:a16="http://schemas.microsoft.com/office/drawing/2014/main" id="{D1CD53D2-F5FB-4B08-9574-408CD54FBE68}"/>
                  </a:ext>
                </a:extLst>
              </p:cNvPr>
              <p:cNvSpPr txBox="1"/>
              <p:nvPr/>
            </p:nvSpPr>
            <p:spPr>
              <a:xfrm>
                <a:off x="5088497" y="4696814"/>
                <a:ext cx="1047570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Geschwindigkeit</a:t>
                </a:r>
              </a:p>
            </p:txBody>
          </p:sp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20F07DA2-D892-4B8F-85D1-A05C0DD7C23E}"/>
                  </a:ext>
                </a:extLst>
              </p:cNvPr>
              <p:cNvSpPr txBox="1"/>
              <p:nvPr/>
            </p:nvSpPr>
            <p:spPr>
              <a:xfrm>
                <a:off x="5086600" y="4396676"/>
                <a:ext cx="103142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Transparenz</a:t>
                </a:r>
              </a:p>
            </p:txBody>
          </p:sp>
          <p:pic>
            <p:nvPicPr>
              <p:cNvPr id="190" name="Grafik 189" descr="Recherche">
                <a:extLst>
                  <a:ext uri="{FF2B5EF4-FFF2-40B4-BE49-F238E27FC236}">
                    <a16:creationId xmlns:a16="http://schemas.microsoft.com/office/drawing/2014/main" id="{CE356AB5-AA4F-4C10-9EE2-A9051260BE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760870" y="4355993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191" name="Grafik 190" descr="Messgerät">
                <a:extLst>
                  <a:ext uri="{FF2B5EF4-FFF2-40B4-BE49-F238E27FC236}">
                    <a16:creationId xmlns:a16="http://schemas.microsoft.com/office/drawing/2014/main" id="{97109D76-CAA5-45B3-9F29-349AF37C43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764303" y="4632729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192" name="Grafik 191" descr="Kreise mit Pfeilen">
                <a:extLst>
                  <a:ext uri="{FF2B5EF4-FFF2-40B4-BE49-F238E27FC236}">
                    <a16:creationId xmlns:a16="http://schemas.microsoft.com/office/drawing/2014/main" id="{35CA6CF7-10B1-4CD4-B066-A91B8E5B64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722077" y="4905821"/>
                <a:ext cx="303415" cy="303415"/>
              </a:xfrm>
              <a:prstGeom prst="rect">
                <a:avLst/>
              </a:prstGeom>
            </p:spPr>
          </p:pic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3D70695A-3BD8-4BBB-B08F-FCA56F88AF15}"/>
                </a:ext>
              </a:extLst>
            </p:cNvPr>
            <p:cNvGrpSpPr/>
            <p:nvPr/>
          </p:nvGrpSpPr>
          <p:grpSpPr>
            <a:xfrm>
              <a:off x="6390039" y="4624795"/>
              <a:ext cx="192750" cy="196946"/>
              <a:chOff x="6390039" y="4624795"/>
              <a:chExt cx="192750" cy="196946"/>
            </a:xfrm>
          </p:grpSpPr>
          <p:sp>
            <p:nvSpPr>
              <p:cNvPr id="208" name="Freeform 2467">
                <a:extLst>
                  <a:ext uri="{FF2B5EF4-FFF2-40B4-BE49-F238E27FC236}">
                    <a16:creationId xmlns:a16="http://schemas.microsoft.com/office/drawing/2014/main" id="{21784E5A-7823-44D3-B1CC-14B5AF69680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34736" y="466965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12" name="Ellipse 211">
                <a:extLst>
                  <a:ext uri="{FF2B5EF4-FFF2-40B4-BE49-F238E27FC236}">
                    <a16:creationId xmlns:a16="http://schemas.microsoft.com/office/drawing/2014/main" id="{D54A4174-9A71-4119-B221-E832E62D8F3E}"/>
                  </a:ext>
                </a:extLst>
              </p:cNvPr>
              <p:cNvSpPr/>
              <p:nvPr/>
            </p:nvSpPr>
            <p:spPr>
              <a:xfrm>
                <a:off x="6390039" y="4624795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2FEE66B6-CFD5-4874-B95F-C00B7D479B7C}"/>
                </a:ext>
              </a:extLst>
            </p:cNvPr>
            <p:cNvGrpSpPr/>
            <p:nvPr/>
          </p:nvGrpSpPr>
          <p:grpSpPr>
            <a:xfrm>
              <a:off x="6390039" y="4936379"/>
              <a:ext cx="192750" cy="196946"/>
              <a:chOff x="6390039" y="4936379"/>
              <a:chExt cx="192750" cy="196946"/>
            </a:xfrm>
          </p:grpSpPr>
          <p:sp>
            <p:nvSpPr>
              <p:cNvPr id="214" name="Freeform 2467">
                <a:extLst>
                  <a:ext uri="{FF2B5EF4-FFF2-40B4-BE49-F238E27FC236}">
                    <a16:creationId xmlns:a16="http://schemas.microsoft.com/office/drawing/2014/main" id="{370453F3-837E-4A6E-9AED-1FEE1BC0B1B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34736" y="498088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15" name="Ellipse 214">
                <a:extLst>
                  <a:ext uri="{FF2B5EF4-FFF2-40B4-BE49-F238E27FC236}">
                    <a16:creationId xmlns:a16="http://schemas.microsoft.com/office/drawing/2014/main" id="{162416EC-A1DC-435B-A9DE-B25ADE598EA4}"/>
                  </a:ext>
                </a:extLst>
              </p:cNvPr>
              <p:cNvSpPr/>
              <p:nvPr/>
            </p:nvSpPr>
            <p:spPr>
              <a:xfrm>
                <a:off x="6390039" y="4936379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D7732012-911B-467C-8BF9-53078B4C4BB5}"/>
                </a:ext>
              </a:extLst>
            </p:cNvPr>
            <p:cNvGrpSpPr/>
            <p:nvPr/>
          </p:nvGrpSpPr>
          <p:grpSpPr>
            <a:xfrm>
              <a:off x="6663398" y="4624795"/>
              <a:ext cx="192750" cy="196946"/>
              <a:chOff x="6663398" y="4624795"/>
              <a:chExt cx="192750" cy="196946"/>
            </a:xfrm>
          </p:grpSpPr>
          <p:sp>
            <p:nvSpPr>
              <p:cNvPr id="243" name="Freeform 2467">
                <a:extLst>
                  <a:ext uri="{FF2B5EF4-FFF2-40B4-BE49-F238E27FC236}">
                    <a16:creationId xmlns:a16="http://schemas.microsoft.com/office/drawing/2014/main" id="{C3C69E8E-2F60-4926-894E-B2DD6601CCB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706158" y="466965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4" name="Ellipse 243">
                <a:extLst>
                  <a:ext uri="{FF2B5EF4-FFF2-40B4-BE49-F238E27FC236}">
                    <a16:creationId xmlns:a16="http://schemas.microsoft.com/office/drawing/2014/main" id="{4F010B41-4F83-45C8-9404-2106BE11C343}"/>
                  </a:ext>
                </a:extLst>
              </p:cNvPr>
              <p:cNvSpPr/>
              <p:nvPr/>
            </p:nvSpPr>
            <p:spPr>
              <a:xfrm>
                <a:off x="6663398" y="4624795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A87B8EFD-600F-43FE-A06C-A2C350B216F9}"/>
                </a:ext>
              </a:extLst>
            </p:cNvPr>
            <p:cNvGrpSpPr/>
            <p:nvPr/>
          </p:nvGrpSpPr>
          <p:grpSpPr>
            <a:xfrm>
              <a:off x="6390039" y="4338379"/>
              <a:ext cx="192750" cy="196946"/>
              <a:chOff x="6390039" y="4338379"/>
              <a:chExt cx="192750" cy="196946"/>
            </a:xfrm>
          </p:grpSpPr>
          <p:sp>
            <p:nvSpPr>
              <p:cNvPr id="246" name="Freeform 2467">
                <a:extLst>
                  <a:ext uri="{FF2B5EF4-FFF2-40B4-BE49-F238E27FC236}">
                    <a16:creationId xmlns:a16="http://schemas.microsoft.com/office/drawing/2014/main" id="{18010B86-0AD9-4FF5-8EC9-FBFBE3D44A7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6434736" y="438288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7" name="Ellipse 246">
                <a:extLst>
                  <a:ext uri="{FF2B5EF4-FFF2-40B4-BE49-F238E27FC236}">
                    <a16:creationId xmlns:a16="http://schemas.microsoft.com/office/drawing/2014/main" id="{E6F1ECF8-BD0B-48CC-89C3-A5A5A449180D}"/>
                  </a:ext>
                </a:extLst>
              </p:cNvPr>
              <p:cNvSpPr/>
              <p:nvPr/>
            </p:nvSpPr>
            <p:spPr>
              <a:xfrm>
                <a:off x="6390039" y="4338379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</p:grpSp>
      <p:sp>
        <p:nvSpPr>
          <p:cNvPr id="352" name="Textfeld 351">
            <a:extLst>
              <a:ext uri="{FF2B5EF4-FFF2-40B4-BE49-F238E27FC236}">
                <a16:creationId xmlns:a16="http://schemas.microsoft.com/office/drawing/2014/main" id="{9D9FBBD0-35A0-4213-9F47-1E8322F3AB6E}"/>
              </a:ext>
            </a:extLst>
          </p:cNvPr>
          <p:cNvSpPr txBox="1"/>
          <p:nvPr/>
        </p:nvSpPr>
        <p:spPr>
          <a:xfrm>
            <a:off x="4235664" y="5363439"/>
            <a:ext cx="19846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00" b="1" u="sng" dirty="0">
                <a:solidFill>
                  <a:schemeClr val="tx2"/>
                </a:solidFill>
              </a:rPr>
              <a:t>Kostenschätzung</a:t>
            </a:r>
            <a:endParaRPr lang="de-DE" sz="1000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061951D-54AC-470A-9F52-8FF8D75BCB9F}"/>
              </a:ext>
            </a:extLst>
          </p:cNvPr>
          <p:cNvGrpSpPr/>
          <p:nvPr/>
        </p:nvGrpSpPr>
        <p:grpSpPr>
          <a:xfrm>
            <a:off x="4632785" y="2615972"/>
            <a:ext cx="2423170" cy="1211748"/>
            <a:chOff x="4570282" y="2615972"/>
            <a:chExt cx="2423170" cy="1211748"/>
          </a:xfrm>
        </p:grpSpPr>
        <p:sp>
          <p:nvSpPr>
            <p:cNvPr id="282" name="Rechteck: abgerundete Ecken 281">
              <a:extLst>
                <a:ext uri="{FF2B5EF4-FFF2-40B4-BE49-F238E27FC236}">
                  <a16:creationId xmlns:a16="http://schemas.microsoft.com/office/drawing/2014/main" id="{24038352-3F5C-4BE7-AF4A-11B2EE0B950C}"/>
                </a:ext>
              </a:extLst>
            </p:cNvPr>
            <p:cNvSpPr/>
            <p:nvPr/>
          </p:nvSpPr>
          <p:spPr>
            <a:xfrm>
              <a:off x="4677826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284" name="Rechteck: abgerundete Ecken 283">
              <a:extLst>
                <a:ext uri="{FF2B5EF4-FFF2-40B4-BE49-F238E27FC236}">
                  <a16:creationId xmlns:a16="http://schemas.microsoft.com/office/drawing/2014/main" id="{93C90D98-1DBB-4B24-BDFE-850CAFD9D338}"/>
                </a:ext>
              </a:extLst>
            </p:cNvPr>
            <p:cNvSpPr/>
            <p:nvPr/>
          </p:nvSpPr>
          <p:spPr>
            <a:xfrm>
              <a:off x="4854427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15" name="Rechteck: abgerundete Ecken 314">
              <a:extLst>
                <a:ext uri="{FF2B5EF4-FFF2-40B4-BE49-F238E27FC236}">
                  <a16:creationId xmlns:a16="http://schemas.microsoft.com/office/drawing/2014/main" id="{1CD860C9-931B-4389-8667-60FA60FF5A69}"/>
                </a:ext>
              </a:extLst>
            </p:cNvPr>
            <p:cNvSpPr/>
            <p:nvPr/>
          </p:nvSpPr>
          <p:spPr>
            <a:xfrm>
              <a:off x="5462144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17" name="Rechteck: abgerundete Ecken 316">
              <a:extLst>
                <a:ext uri="{FF2B5EF4-FFF2-40B4-BE49-F238E27FC236}">
                  <a16:creationId xmlns:a16="http://schemas.microsoft.com/office/drawing/2014/main" id="{053D43E3-971B-4635-A16E-129BA8B4E173}"/>
                </a:ext>
              </a:extLst>
            </p:cNvPr>
            <p:cNvSpPr/>
            <p:nvPr/>
          </p:nvSpPr>
          <p:spPr>
            <a:xfrm>
              <a:off x="5638745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18" name="Rechteck: abgerundete Ecken 317">
              <a:extLst>
                <a:ext uri="{FF2B5EF4-FFF2-40B4-BE49-F238E27FC236}">
                  <a16:creationId xmlns:a16="http://schemas.microsoft.com/office/drawing/2014/main" id="{8B091EA2-C67C-4F42-A7ED-DB12A6311E66}"/>
                </a:ext>
              </a:extLst>
            </p:cNvPr>
            <p:cNvSpPr/>
            <p:nvPr/>
          </p:nvSpPr>
          <p:spPr>
            <a:xfrm>
              <a:off x="6244694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27" name="Rechteck: abgerundete Ecken 326">
              <a:extLst>
                <a:ext uri="{FF2B5EF4-FFF2-40B4-BE49-F238E27FC236}">
                  <a16:creationId xmlns:a16="http://schemas.microsoft.com/office/drawing/2014/main" id="{43180ADD-B854-4002-88B4-D2796547C8C2}"/>
                </a:ext>
              </a:extLst>
            </p:cNvPr>
            <p:cNvSpPr/>
            <p:nvPr/>
          </p:nvSpPr>
          <p:spPr>
            <a:xfrm>
              <a:off x="6421295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40" name="Pfeil: nach unten gekrümmt 339">
              <a:extLst>
                <a:ext uri="{FF2B5EF4-FFF2-40B4-BE49-F238E27FC236}">
                  <a16:creationId xmlns:a16="http://schemas.microsoft.com/office/drawing/2014/main" id="{D75C3FC1-6555-424C-BB12-A5B217393D73}"/>
                </a:ext>
              </a:extLst>
            </p:cNvPr>
            <p:cNvSpPr/>
            <p:nvPr/>
          </p:nvSpPr>
          <p:spPr>
            <a:xfrm>
              <a:off x="5047551" y="3433385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41" name="Pfeil: nach unten gekrümmt 340">
              <a:extLst>
                <a:ext uri="{FF2B5EF4-FFF2-40B4-BE49-F238E27FC236}">
                  <a16:creationId xmlns:a16="http://schemas.microsoft.com/office/drawing/2014/main" id="{ABE23951-3DDD-4CAC-BB46-A4620EF9B441}"/>
                </a:ext>
              </a:extLst>
            </p:cNvPr>
            <p:cNvSpPr/>
            <p:nvPr/>
          </p:nvSpPr>
          <p:spPr>
            <a:xfrm>
              <a:off x="5849849" y="3433385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E5384C26-EA26-428F-B6D3-AC966C010BD1}"/>
                </a:ext>
              </a:extLst>
            </p:cNvPr>
            <p:cNvGrpSpPr/>
            <p:nvPr/>
          </p:nvGrpSpPr>
          <p:grpSpPr>
            <a:xfrm>
              <a:off x="4570282" y="2615972"/>
              <a:ext cx="2423170" cy="744575"/>
              <a:chOff x="4570282" y="2657917"/>
              <a:chExt cx="2423170" cy="744575"/>
            </a:xfrm>
          </p:grpSpPr>
          <p:sp>
            <p:nvSpPr>
              <p:cNvPr id="169" name="Rechteck 168">
                <a:extLst>
                  <a:ext uri="{FF2B5EF4-FFF2-40B4-BE49-F238E27FC236}">
                    <a16:creationId xmlns:a16="http://schemas.microsoft.com/office/drawing/2014/main" id="{C4D8B9BA-3B9D-4F3E-B766-24C33EE538F7}"/>
                  </a:ext>
                </a:extLst>
              </p:cNvPr>
              <p:cNvSpPr/>
              <p:nvPr/>
            </p:nvSpPr>
            <p:spPr>
              <a:xfrm>
                <a:off x="4628843" y="3084593"/>
                <a:ext cx="1741440" cy="180000"/>
              </a:xfrm>
              <a:prstGeom prst="rect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0" name="Rechteck 169">
                <a:extLst>
                  <a:ext uri="{FF2B5EF4-FFF2-40B4-BE49-F238E27FC236}">
                    <a16:creationId xmlns:a16="http://schemas.microsoft.com/office/drawing/2014/main" id="{9BF82540-4863-4487-86D8-06DD25F2CC42}"/>
                  </a:ext>
                </a:extLst>
              </p:cNvPr>
              <p:cNvSpPr/>
              <p:nvPr/>
            </p:nvSpPr>
            <p:spPr>
              <a:xfrm>
                <a:off x="4571452" y="2781178"/>
                <a:ext cx="180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r>
                  <a:rPr lang="de-DE" sz="1000" b="1" dirty="0"/>
                  <a:t>Ø alle 30 min</a:t>
                </a:r>
              </a:p>
            </p:txBody>
          </p:sp>
          <p:sp>
            <p:nvSpPr>
              <p:cNvPr id="171" name="Rechteck 170">
                <a:extLst>
                  <a:ext uri="{FF2B5EF4-FFF2-40B4-BE49-F238E27FC236}">
                    <a16:creationId xmlns:a16="http://schemas.microsoft.com/office/drawing/2014/main" id="{7079C9C0-138A-4601-A05B-7573342E9125}"/>
                  </a:ext>
                </a:extLst>
              </p:cNvPr>
              <p:cNvSpPr/>
              <p:nvPr/>
            </p:nvSpPr>
            <p:spPr>
              <a:xfrm>
                <a:off x="4570283" y="3084628"/>
                <a:ext cx="594000" cy="180000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endParaRPr lang="de-DE" sz="1000" b="1" dirty="0"/>
              </a:p>
            </p:txBody>
          </p: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8AA6DCF2-DE4C-48F6-8ABF-E9EB591AC6A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70282" y="2657917"/>
                <a:ext cx="1169" cy="744575"/>
              </a:xfrm>
              <a:prstGeom prst="line">
                <a:avLst/>
              </a:prstGeom>
              <a:ln w="381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Verbinder: gewinkelt 174">
                <a:extLst>
                  <a:ext uri="{FF2B5EF4-FFF2-40B4-BE49-F238E27FC236}">
                    <a16:creationId xmlns:a16="http://schemas.microsoft.com/office/drawing/2014/main" id="{7DF73D4D-9F75-4599-AE1E-00AAE9E6942B}"/>
                  </a:ext>
                </a:extLst>
              </p:cNvPr>
              <p:cNvCxnSpPr>
                <a:stCxn id="170" idx="3"/>
                <a:endCxn id="169" idx="3"/>
              </p:cNvCxnSpPr>
              <p:nvPr/>
            </p:nvCxnSpPr>
            <p:spPr>
              <a:xfrm flipH="1">
                <a:off x="6370283" y="2871178"/>
                <a:ext cx="1169" cy="303415"/>
              </a:xfrm>
              <a:prstGeom prst="bentConnector3">
                <a:avLst>
                  <a:gd name="adj1" fmla="val -14666382"/>
                </a:avLst>
              </a:prstGeom>
              <a:ln w="19050"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6" name="Textfeld 175">
                <a:extLst>
                  <a:ext uri="{FF2B5EF4-FFF2-40B4-BE49-F238E27FC236}">
                    <a16:creationId xmlns:a16="http://schemas.microsoft.com/office/drawing/2014/main" id="{95A879AA-1866-434B-9ECF-B483009B693A}"/>
                  </a:ext>
                </a:extLst>
              </p:cNvPr>
              <p:cNvSpPr txBox="1"/>
              <p:nvPr/>
            </p:nvSpPr>
            <p:spPr>
              <a:xfrm>
                <a:off x="5214842" y="3102693"/>
                <a:ext cx="8180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000" b="1" dirty="0">
                    <a:solidFill>
                      <a:schemeClr val="tx2"/>
                    </a:solidFill>
                  </a:rPr>
                  <a:t>Ø alle 10 min</a:t>
                </a:r>
              </a:p>
            </p:txBody>
          </p:sp>
          <p:sp>
            <p:nvSpPr>
              <p:cNvPr id="177" name="Textfeld 176">
                <a:extLst>
                  <a:ext uri="{FF2B5EF4-FFF2-40B4-BE49-F238E27FC236}">
                    <a16:creationId xmlns:a16="http://schemas.microsoft.com/office/drawing/2014/main" id="{8BA77858-452B-47BE-98EF-08D1F608896B}"/>
                  </a:ext>
                </a:extLst>
              </p:cNvPr>
              <p:cNvSpPr txBox="1"/>
              <p:nvPr/>
            </p:nvSpPr>
            <p:spPr>
              <a:xfrm>
                <a:off x="6395718" y="2949480"/>
                <a:ext cx="597734" cy="1538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b="1" dirty="0">
                    <a:solidFill>
                      <a:srgbClr val="00B050"/>
                    </a:solidFill>
                  </a:rPr>
                  <a:t>- 67 %</a:t>
                </a:r>
              </a:p>
            </p:txBody>
          </p:sp>
          <p:sp>
            <p:nvSpPr>
              <p:cNvPr id="362" name="Textfeld 361">
                <a:extLst>
                  <a:ext uri="{FF2B5EF4-FFF2-40B4-BE49-F238E27FC236}">
                    <a16:creationId xmlns:a16="http://schemas.microsoft.com/office/drawing/2014/main" id="{9813602F-01AA-4471-8E3C-71FC8C2A9FC0}"/>
                  </a:ext>
                </a:extLst>
              </p:cNvPr>
              <p:cNvSpPr txBox="1"/>
              <p:nvPr/>
            </p:nvSpPr>
            <p:spPr>
              <a:xfrm>
                <a:off x="6585729" y="3149504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neu</a:t>
                </a:r>
              </a:p>
            </p:txBody>
          </p:sp>
          <p:sp>
            <p:nvSpPr>
              <p:cNvPr id="363" name="Textfeld 362">
                <a:extLst>
                  <a:ext uri="{FF2B5EF4-FFF2-40B4-BE49-F238E27FC236}">
                    <a16:creationId xmlns:a16="http://schemas.microsoft.com/office/drawing/2014/main" id="{A8E47F97-A8B9-4981-AAD1-7B9C66DE53F6}"/>
                  </a:ext>
                </a:extLst>
              </p:cNvPr>
              <p:cNvSpPr txBox="1"/>
              <p:nvPr/>
            </p:nvSpPr>
            <p:spPr>
              <a:xfrm>
                <a:off x="6585729" y="2768571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alt</a:t>
                </a:r>
              </a:p>
            </p:txBody>
          </p:sp>
        </p:grpSp>
      </p:grpSp>
      <p:pic>
        <p:nvPicPr>
          <p:cNvPr id="239" name="Grafik 238">
            <a:extLst>
              <a:ext uri="{FF2B5EF4-FFF2-40B4-BE49-F238E27FC236}">
                <a16:creationId xmlns:a16="http://schemas.microsoft.com/office/drawing/2014/main" id="{0987408F-FB72-4452-A122-ED58F1636EF0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5129" b="86706" l="9987" r="89980">
                        <a14:foregroundMark x1="30522" y1="18700" x2="47751" y2="15129"/>
                        <a14:foregroundMark x1="47751" y1="15129" x2="64848" y2="20610"/>
                        <a14:foregroundMark x1="64848" y1="20610" x2="71230" y2="30903"/>
                        <a14:foregroundMark x1="59954" y1="25744" x2="56184" y2="39360"/>
                        <a14:foregroundMark x1="56184" y1="39360" x2="62765" y2="26265"/>
                        <a14:foregroundMark x1="62765" y1="26265" x2="64980" y2="28100"/>
                        <a14:foregroundMark x1="59954" y1="20809" x2="58069" y2="20561"/>
                        <a14:foregroundMark x1="59656" y1="24554" x2="60880" y2="23636"/>
                        <a14:foregroundMark x1="41171" y1="25744" x2="37103" y2="26215"/>
                        <a14:foregroundMark x1="35847" y1="42411" x2="43221" y2="54911"/>
                        <a14:foregroundMark x1="43221" y1="54911" x2="66667" y2="33581"/>
                        <a14:foregroundMark x1="66667" y1="33581" x2="66204" y2="41468"/>
                        <a14:foregroundMark x1="58069" y1="44296" x2="69345" y2="55481"/>
                        <a14:foregroundMark x1="69345" y1="55481" x2="69345" y2="69420"/>
                        <a14:foregroundMark x1="69345" y1="69420" x2="50926" y2="74926"/>
                        <a14:foregroundMark x1="50926" y1="74926" x2="59028" y2="45709"/>
                        <a14:foregroundMark x1="59028" y1="45709" x2="53704" y2="58854"/>
                        <a14:foregroundMark x1="53704" y1="58854" x2="54332" y2="45337"/>
                        <a14:foregroundMark x1="54332" y1="45337" x2="64980" y2="56027"/>
                        <a14:foregroundMark x1="64980" y1="56027" x2="61640" y2="69320"/>
                        <a14:foregroundMark x1="61640" y1="69320" x2="61508" y2="60020"/>
                        <a14:foregroundMark x1="41171" y1="27158" x2="58003" y2="21974"/>
                        <a14:foregroundMark x1="58003" y1="21974" x2="57771" y2="22445"/>
                        <a14:foregroundMark x1="37103" y1="29018" x2="37103" y2="29018"/>
                        <a14:foregroundMark x1="36475" y1="29266" x2="40840" y2="30432"/>
                        <a14:foregroundMark x1="35847" y1="29489" x2="41799" y2="31374"/>
                        <a14:foregroundMark x1="42097" y1="78571" x2="54332" y2="79985"/>
                        <a14:foregroundMark x1="30522" y1="38418" x2="31448" y2="55084"/>
                        <a14:foregroundMark x1="30820" y1="44048" x2="31151" y2="55804"/>
                        <a14:foregroundMark x1="30522" y1="48983" x2="31448" y2="55556"/>
                        <a14:foregroundMark x1="30820" y1="78348" x2="45734" y2="86285"/>
                        <a14:foregroundMark x1="45734" y1="86285" x2="65642" y2="81250"/>
                        <a14:foregroundMark x1="65642" y1="81250" x2="47255" y2="81870"/>
                        <a14:foregroundMark x1="47255" y1="81870" x2="31448" y2="78100"/>
                        <a14:foregroundMark x1="54332" y1="80928" x2="58399" y2="78571"/>
                        <a14:foregroundMark x1="33333" y1="76240" x2="30820" y2="75298"/>
                      </a14:backgroundRemoval>
                    </a14:imgEffect>
                  </a14:imgLayer>
                </a14:imgProps>
              </a:ext>
            </a:extLst>
          </a:blip>
          <a:srcRect t="10595" r="-2181" b="4830"/>
          <a:stretch/>
        </p:blipFill>
        <p:spPr>
          <a:xfrm>
            <a:off x="6084739" y="1151821"/>
            <a:ext cx="1217590" cy="1343751"/>
          </a:xfrm>
          <a:prstGeom prst="rect">
            <a:avLst/>
          </a:prstGeom>
        </p:spPr>
      </p:pic>
      <p:pic>
        <p:nvPicPr>
          <p:cNvPr id="166" name="Picture 2" descr="SDV für Materialumschlag - OTTO 1OO - OTTO Motors - elektrisch">
            <a:extLst>
              <a:ext uri="{FF2B5EF4-FFF2-40B4-BE49-F238E27FC236}">
                <a16:creationId xmlns:a16="http://schemas.microsoft.com/office/drawing/2014/main" id="{7C5D2A46-ED47-4A0D-99BB-872537607D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" t="21806" r="-6" b="20534"/>
          <a:stretch/>
        </p:blipFill>
        <p:spPr bwMode="auto">
          <a:xfrm>
            <a:off x="4619747" y="1340078"/>
            <a:ext cx="1420064" cy="8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9" name="Textfeld 158">
            <a:extLst>
              <a:ext uri="{FF2B5EF4-FFF2-40B4-BE49-F238E27FC236}">
                <a16:creationId xmlns:a16="http://schemas.microsoft.com/office/drawing/2014/main" id="{1E95FBFF-3B6A-45EB-93C7-8A59226DA3A3}"/>
              </a:ext>
            </a:extLst>
          </p:cNvPr>
          <p:cNvSpPr txBox="1"/>
          <p:nvPr/>
        </p:nvSpPr>
        <p:spPr bwMode="gray">
          <a:xfrm>
            <a:off x="7796175" y="835901"/>
            <a:ext cx="3218907" cy="5725238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endParaRPr lang="de-DE" sz="1400" b="1" kern="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A3EEFF1E-6C5D-4DAF-BC14-BD26A927301E}"/>
              </a:ext>
            </a:extLst>
          </p:cNvPr>
          <p:cNvSpPr txBox="1"/>
          <p:nvPr/>
        </p:nvSpPr>
        <p:spPr bwMode="gray">
          <a:xfrm>
            <a:off x="7798864" y="835901"/>
            <a:ext cx="3216218" cy="27184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accent3"/>
              </a:gs>
            </a:gsLst>
            <a:lin ang="10800000" scaled="1"/>
            <a:tileRect/>
          </a:gradFill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0">
              <a:defRPr/>
            </a:pPr>
            <a:r>
              <a:rPr lang="de-DE" sz="1400" b="1" kern="0" dirty="0">
                <a:solidFill>
                  <a:schemeClr val="bg1"/>
                </a:solidFill>
                <a:latin typeface="Segoe UI"/>
              </a:rPr>
              <a:t>Ausbaustufe 3</a:t>
            </a:r>
          </a:p>
        </p:txBody>
      </p:sp>
      <p:sp>
        <p:nvSpPr>
          <p:cNvPr id="173" name="Textfeld 172">
            <a:extLst>
              <a:ext uri="{FF2B5EF4-FFF2-40B4-BE49-F238E27FC236}">
                <a16:creationId xmlns:a16="http://schemas.microsoft.com/office/drawing/2014/main" id="{2122B5BF-1EB5-46B4-B5B5-9A4FC3E33622}"/>
              </a:ext>
            </a:extLst>
          </p:cNvPr>
          <p:cNvSpPr txBox="1"/>
          <p:nvPr/>
        </p:nvSpPr>
        <p:spPr>
          <a:xfrm>
            <a:off x="8124641" y="5625921"/>
            <a:ext cx="2384665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00" dirty="0"/>
              <a:t>Anbindung ERP	 	   100 T€</a:t>
            </a:r>
          </a:p>
          <a:p>
            <a:r>
              <a:rPr lang="de-DE" sz="1000" dirty="0"/>
              <a:t>oder Auftragsmanager</a:t>
            </a:r>
          </a:p>
          <a:p>
            <a:pPr algn="l"/>
            <a:endParaRPr lang="de-DE" sz="1000" dirty="0"/>
          </a:p>
          <a:p>
            <a:pPr algn="l"/>
            <a:endParaRPr lang="de-DE" sz="1000" dirty="0"/>
          </a:p>
          <a:p>
            <a:pPr algn="l"/>
            <a:r>
              <a:rPr lang="de-DE" sz="1000" b="1" dirty="0"/>
              <a:t>Gesamt		~ 100 T€</a:t>
            </a:r>
            <a:endParaRPr lang="de-DE" sz="1000" dirty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D2CABC9-2D89-42B7-AF30-297321043BB4}"/>
              </a:ext>
            </a:extLst>
          </p:cNvPr>
          <p:cNvSpPr txBox="1"/>
          <p:nvPr/>
        </p:nvSpPr>
        <p:spPr>
          <a:xfrm>
            <a:off x="7867467" y="2348022"/>
            <a:ext cx="23188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>
                <a:solidFill>
                  <a:schemeClr val="tx2"/>
                </a:solidFill>
              </a:rPr>
              <a:t>Transportintervall</a:t>
            </a: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35F7514F-4AA6-4BB6-872F-1333B8452E8B}"/>
              </a:ext>
            </a:extLst>
          </p:cNvPr>
          <p:cNvSpPr txBox="1"/>
          <p:nvPr/>
        </p:nvSpPr>
        <p:spPr>
          <a:xfrm>
            <a:off x="7867467" y="4048883"/>
            <a:ext cx="19846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00" b="1" u="sng" dirty="0">
                <a:solidFill>
                  <a:schemeClr val="tx2"/>
                </a:solidFill>
              </a:rPr>
              <a:t>Benefits</a:t>
            </a:r>
            <a:endParaRPr lang="de-DE" sz="1000" dirty="0"/>
          </a:p>
        </p:txBody>
      </p:sp>
      <p:sp>
        <p:nvSpPr>
          <p:cNvPr id="356" name="Textfeld 355">
            <a:extLst>
              <a:ext uri="{FF2B5EF4-FFF2-40B4-BE49-F238E27FC236}">
                <a16:creationId xmlns:a16="http://schemas.microsoft.com/office/drawing/2014/main" id="{ABADF595-7F96-405F-9285-77097810D26F}"/>
              </a:ext>
            </a:extLst>
          </p:cNvPr>
          <p:cNvSpPr txBox="1"/>
          <p:nvPr/>
        </p:nvSpPr>
        <p:spPr>
          <a:xfrm>
            <a:off x="7867467" y="5363439"/>
            <a:ext cx="19846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00" b="1" u="sng" dirty="0">
                <a:solidFill>
                  <a:schemeClr val="tx2"/>
                </a:solidFill>
              </a:rPr>
              <a:t>Kostenschätzung</a:t>
            </a:r>
            <a:endParaRPr lang="de-DE" sz="10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B299EDB-8DB6-4888-A491-40EFA3F81CD3}"/>
              </a:ext>
            </a:extLst>
          </p:cNvPr>
          <p:cNvGrpSpPr/>
          <p:nvPr/>
        </p:nvGrpSpPr>
        <p:grpSpPr>
          <a:xfrm>
            <a:off x="8261955" y="2615972"/>
            <a:ext cx="2392832" cy="1211748"/>
            <a:chOff x="8248844" y="2615972"/>
            <a:chExt cx="2392832" cy="1211748"/>
          </a:xfrm>
        </p:grpSpPr>
        <p:sp>
          <p:nvSpPr>
            <p:cNvPr id="183" name="Rechteck: abgerundete Ecken 182">
              <a:extLst>
                <a:ext uri="{FF2B5EF4-FFF2-40B4-BE49-F238E27FC236}">
                  <a16:creationId xmlns:a16="http://schemas.microsoft.com/office/drawing/2014/main" id="{9823F9F1-FF3F-4FF5-AD4F-EA406F38B4D3}"/>
                </a:ext>
              </a:extLst>
            </p:cNvPr>
            <p:cNvSpPr/>
            <p:nvPr/>
          </p:nvSpPr>
          <p:spPr>
            <a:xfrm>
              <a:off x="8446386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85" name="Rechteck: abgerundete Ecken 184">
              <a:extLst>
                <a:ext uri="{FF2B5EF4-FFF2-40B4-BE49-F238E27FC236}">
                  <a16:creationId xmlns:a16="http://schemas.microsoft.com/office/drawing/2014/main" id="{8512C8B7-840F-4C42-8B19-99485DA5140A}"/>
                </a:ext>
              </a:extLst>
            </p:cNvPr>
            <p:cNvSpPr/>
            <p:nvPr/>
          </p:nvSpPr>
          <p:spPr>
            <a:xfrm>
              <a:off x="9277409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95" name="Rechteck: abgerundete Ecken 194">
              <a:extLst>
                <a:ext uri="{FF2B5EF4-FFF2-40B4-BE49-F238E27FC236}">
                  <a16:creationId xmlns:a16="http://schemas.microsoft.com/office/drawing/2014/main" id="{866964B5-C993-4C99-9536-3D959E7CABC2}"/>
                </a:ext>
              </a:extLst>
            </p:cNvPr>
            <p:cNvSpPr/>
            <p:nvPr/>
          </p:nvSpPr>
          <p:spPr>
            <a:xfrm>
              <a:off x="10008042" y="3683720"/>
              <a:ext cx="144000" cy="144000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45" name="Pfeil: nach unten gekrümmt 344">
              <a:extLst>
                <a:ext uri="{FF2B5EF4-FFF2-40B4-BE49-F238E27FC236}">
                  <a16:creationId xmlns:a16="http://schemas.microsoft.com/office/drawing/2014/main" id="{E1D3D30C-1E7F-4084-BF27-FAE0301491E9}"/>
                </a:ext>
              </a:extLst>
            </p:cNvPr>
            <p:cNvSpPr/>
            <p:nvPr/>
          </p:nvSpPr>
          <p:spPr>
            <a:xfrm>
              <a:off x="8697733" y="3433385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46" name="Pfeil: nach unten gekrümmt 345">
              <a:extLst>
                <a:ext uri="{FF2B5EF4-FFF2-40B4-BE49-F238E27FC236}">
                  <a16:creationId xmlns:a16="http://schemas.microsoft.com/office/drawing/2014/main" id="{0FD249A0-CFA7-4F9E-B1A4-52EBE8C14136}"/>
                </a:ext>
              </a:extLst>
            </p:cNvPr>
            <p:cNvSpPr/>
            <p:nvPr/>
          </p:nvSpPr>
          <p:spPr>
            <a:xfrm>
              <a:off x="9500031" y="3433385"/>
              <a:ext cx="366160" cy="121924"/>
            </a:xfrm>
            <a:prstGeom prst="curvedDownArrow">
              <a:avLst>
                <a:gd name="adj1" fmla="val 25000"/>
                <a:gd name="adj2" fmla="val 95280"/>
                <a:gd name="adj3" fmla="val 25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A5F83C92-7210-4D7B-96EA-A9CA168DC5A7}"/>
                </a:ext>
              </a:extLst>
            </p:cNvPr>
            <p:cNvGrpSpPr/>
            <p:nvPr/>
          </p:nvGrpSpPr>
          <p:grpSpPr>
            <a:xfrm>
              <a:off x="8248844" y="2615972"/>
              <a:ext cx="2392832" cy="744575"/>
              <a:chOff x="7924994" y="2657917"/>
              <a:chExt cx="2392832" cy="744575"/>
            </a:xfrm>
          </p:grpSpPr>
          <p:sp>
            <p:nvSpPr>
              <p:cNvPr id="160" name="Rechteck 159">
                <a:extLst>
                  <a:ext uri="{FF2B5EF4-FFF2-40B4-BE49-F238E27FC236}">
                    <a16:creationId xmlns:a16="http://schemas.microsoft.com/office/drawing/2014/main" id="{A58A3418-C11D-4F1B-8A41-E08AB3EE1D3F}"/>
                  </a:ext>
                </a:extLst>
              </p:cNvPr>
              <p:cNvSpPr/>
              <p:nvPr/>
            </p:nvSpPr>
            <p:spPr>
              <a:xfrm>
                <a:off x="7983555" y="3084593"/>
                <a:ext cx="1741440" cy="180000"/>
              </a:xfrm>
              <a:prstGeom prst="rect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1" name="Rechteck 160">
                <a:extLst>
                  <a:ext uri="{FF2B5EF4-FFF2-40B4-BE49-F238E27FC236}">
                    <a16:creationId xmlns:a16="http://schemas.microsoft.com/office/drawing/2014/main" id="{19E1C3AC-FC37-4200-A286-EC892DB76C79}"/>
                  </a:ext>
                </a:extLst>
              </p:cNvPr>
              <p:cNvSpPr/>
              <p:nvPr/>
            </p:nvSpPr>
            <p:spPr>
              <a:xfrm>
                <a:off x="7926164" y="2781178"/>
                <a:ext cx="180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r>
                  <a:rPr lang="de-DE" sz="1000" b="1" dirty="0"/>
                  <a:t>Ø alle 30 min</a:t>
                </a:r>
              </a:p>
            </p:txBody>
          </p:sp>
          <p:sp>
            <p:nvSpPr>
              <p:cNvPr id="162" name="Rechteck 161">
                <a:extLst>
                  <a:ext uri="{FF2B5EF4-FFF2-40B4-BE49-F238E27FC236}">
                    <a16:creationId xmlns:a16="http://schemas.microsoft.com/office/drawing/2014/main" id="{38A41C1F-E9DF-4BEC-A980-F74DC828EEAF}"/>
                  </a:ext>
                </a:extLst>
              </p:cNvPr>
              <p:cNvSpPr/>
              <p:nvPr/>
            </p:nvSpPr>
            <p:spPr>
              <a:xfrm>
                <a:off x="7924995" y="3084628"/>
                <a:ext cx="594000" cy="180000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endParaRPr lang="de-DE" sz="1000" b="1" dirty="0"/>
              </a:p>
            </p:txBody>
          </p:sp>
          <p:cxnSp>
            <p:nvCxnSpPr>
              <p:cNvPr id="163" name="Gerader Verbinder 162">
                <a:extLst>
                  <a:ext uri="{FF2B5EF4-FFF2-40B4-BE49-F238E27FC236}">
                    <a16:creationId xmlns:a16="http://schemas.microsoft.com/office/drawing/2014/main" id="{B3D37E12-DFD3-4978-8F88-3AAB55D3988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24994" y="2657917"/>
                <a:ext cx="1169" cy="744575"/>
              </a:xfrm>
              <a:prstGeom prst="line">
                <a:avLst/>
              </a:prstGeom>
              <a:ln w="381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Verbinder: gewinkelt 163">
                <a:extLst>
                  <a:ext uri="{FF2B5EF4-FFF2-40B4-BE49-F238E27FC236}">
                    <a16:creationId xmlns:a16="http://schemas.microsoft.com/office/drawing/2014/main" id="{92FD2726-1D06-42F7-BAC4-FCF997357957}"/>
                  </a:ext>
                </a:extLst>
              </p:cNvPr>
              <p:cNvCxnSpPr>
                <a:stCxn id="161" idx="3"/>
                <a:endCxn id="160" idx="3"/>
              </p:cNvCxnSpPr>
              <p:nvPr/>
            </p:nvCxnSpPr>
            <p:spPr>
              <a:xfrm flipH="1">
                <a:off x="9724995" y="2871178"/>
                <a:ext cx="1169" cy="303415"/>
              </a:xfrm>
              <a:prstGeom prst="bentConnector3">
                <a:avLst>
                  <a:gd name="adj1" fmla="val -14666382"/>
                </a:avLst>
              </a:prstGeom>
              <a:ln w="19050"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Textfeld 164">
                <a:extLst>
                  <a:ext uri="{FF2B5EF4-FFF2-40B4-BE49-F238E27FC236}">
                    <a16:creationId xmlns:a16="http://schemas.microsoft.com/office/drawing/2014/main" id="{743C1597-E154-4905-BF00-8C345DA961D1}"/>
                  </a:ext>
                </a:extLst>
              </p:cNvPr>
              <p:cNvSpPr txBox="1"/>
              <p:nvPr/>
            </p:nvSpPr>
            <p:spPr>
              <a:xfrm>
                <a:off x="8577943" y="3102693"/>
                <a:ext cx="8180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000" b="1" dirty="0">
                    <a:solidFill>
                      <a:schemeClr val="tx2"/>
                    </a:solidFill>
                  </a:rPr>
                  <a:t>Ø alle 10 min</a:t>
                </a:r>
              </a:p>
            </p:txBody>
          </p:sp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870F05DD-682B-48F1-A4A1-ED7CF4C8CC35}"/>
                  </a:ext>
                </a:extLst>
              </p:cNvPr>
              <p:cNvSpPr txBox="1"/>
              <p:nvPr/>
            </p:nvSpPr>
            <p:spPr>
              <a:xfrm>
                <a:off x="9750430" y="2949480"/>
                <a:ext cx="567396" cy="1538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b="1" dirty="0">
                    <a:solidFill>
                      <a:srgbClr val="00B050"/>
                    </a:solidFill>
                  </a:rPr>
                  <a:t>- 67 %</a:t>
                </a:r>
              </a:p>
            </p:txBody>
          </p:sp>
          <p:sp>
            <p:nvSpPr>
              <p:cNvPr id="364" name="Textfeld 363">
                <a:extLst>
                  <a:ext uri="{FF2B5EF4-FFF2-40B4-BE49-F238E27FC236}">
                    <a16:creationId xmlns:a16="http://schemas.microsoft.com/office/drawing/2014/main" id="{1F121789-3A9A-4D9C-8EE2-0304E0D816AA}"/>
                  </a:ext>
                </a:extLst>
              </p:cNvPr>
              <p:cNvSpPr txBox="1"/>
              <p:nvPr/>
            </p:nvSpPr>
            <p:spPr>
              <a:xfrm>
                <a:off x="9945707" y="3153670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neu</a:t>
                </a:r>
              </a:p>
            </p:txBody>
          </p:sp>
          <p:sp>
            <p:nvSpPr>
              <p:cNvPr id="365" name="Textfeld 364">
                <a:extLst>
                  <a:ext uri="{FF2B5EF4-FFF2-40B4-BE49-F238E27FC236}">
                    <a16:creationId xmlns:a16="http://schemas.microsoft.com/office/drawing/2014/main" id="{2E2286BC-467D-4FD3-BF3F-FDC5271E8EB4}"/>
                  </a:ext>
                </a:extLst>
              </p:cNvPr>
              <p:cNvSpPr txBox="1"/>
              <p:nvPr/>
            </p:nvSpPr>
            <p:spPr>
              <a:xfrm>
                <a:off x="9945707" y="2772737"/>
                <a:ext cx="26663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800" dirty="0">
                    <a:solidFill>
                      <a:srgbClr val="707070"/>
                    </a:solidFill>
                  </a:rPr>
                  <a:t>alt</a:t>
                </a:r>
              </a:p>
            </p:txBody>
          </p:sp>
        </p:grpSp>
      </p:grpSp>
      <p:pic>
        <p:nvPicPr>
          <p:cNvPr id="178" name="Picture 2" descr="SDV für Materialumschlag - OTTO 1OO - OTTO Motors - elektrisch">
            <a:extLst>
              <a:ext uri="{FF2B5EF4-FFF2-40B4-BE49-F238E27FC236}">
                <a16:creationId xmlns:a16="http://schemas.microsoft.com/office/drawing/2014/main" id="{0DE56B2B-2940-4EE3-BD57-9969C8FC79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" t="21806" r="-6" b="20534"/>
          <a:stretch/>
        </p:blipFill>
        <p:spPr bwMode="auto">
          <a:xfrm>
            <a:off x="8037206" y="1348487"/>
            <a:ext cx="1420064" cy="8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DD64AC72-F99B-43C6-8C74-494DDDB589C1}"/>
              </a:ext>
            </a:extLst>
          </p:cNvPr>
          <p:cNvGrpSpPr/>
          <p:nvPr/>
        </p:nvGrpSpPr>
        <p:grpSpPr>
          <a:xfrm>
            <a:off x="8353880" y="4297270"/>
            <a:ext cx="2116065" cy="853243"/>
            <a:chOff x="8353880" y="4297270"/>
            <a:chExt cx="2116065" cy="853243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5546467E-1AC4-47BB-A0C6-11BDF6DA808A}"/>
                </a:ext>
              </a:extLst>
            </p:cNvPr>
            <p:cNvGrpSpPr/>
            <p:nvPr/>
          </p:nvGrpSpPr>
          <p:grpSpPr>
            <a:xfrm>
              <a:off x="8353880" y="4297270"/>
              <a:ext cx="1413991" cy="853243"/>
              <a:chOff x="8353880" y="4355993"/>
              <a:chExt cx="1413991" cy="853243"/>
            </a:xfrm>
          </p:grpSpPr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D9AB3540-8970-4F49-8A0E-726604D25A54}"/>
                  </a:ext>
                </a:extLst>
              </p:cNvPr>
              <p:cNvSpPr txBox="1"/>
              <p:nvPr/>
            </p:nvSpPr>
            <p:spPr>
              <a:xfrm>
                <a:off x="8724435" y="4996952"/>
                <a:ext cx="1043436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000" dirty="0"/>
                  <a:t>Bedarfsgesteuert</a:t>
                </a: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4A42A77F-4CA2-47FA-95B7-9F3F59A3B431}"/>
                  </a:ext>
                </a:extLst>
              </p:cNvPr>
              <p:cNvSpPr txBox="1"/>
              <p:nvPr/>
            </p:nvSpPr>
            <p:spPr>
              <a:xfrm>
                <a:off x="8720300" y="4696814"/>
                <a:ext cx="1047570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Geschwindigkeit</a:t>
                </a:r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D1456288-4529-457D-AEDB-7BCC4B63A3D1}"/>
                  </a:ext>
                </a:extLst>
              </p:cNvPr>
              <p:cNvSpPr txBox="1"/>
              <p:nvPr/>
            </p:nvSpPr>
            <p:spPr>
              <a:xfrm>
                <a:off x="8718403" y="4396676"/>
                <a:ext cx="103142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000" dirty="0"/>
                  <a:t>Transparenz</a:t>
                </a:r>
              </a:p>
            </p:txBody>
          </p:sp>
          <p:pic>
            <p:nvPicPr>
              <p:cNvPr id="96" name="Grafik 95" descr="Recherche">
                <a:extLst>
                  <a:ext uri="{FF2B5EF4-FFF2-40B4-BE49-F238E27FC236}">
                    <a16:creationId xmlns:a16="http://schemas.microsoft.com/office/drawing/2014/main" id="{F68B06E0-AA92-4AA8-AD72-0AE1453F5C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392673" y="4355993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97" name="Grafik 96" descr="Messgerät">
                <a:extLst>
                  <a:ext uri="{FF2B5EF4-FFF2-40B4-BE49-F238E27FC236}">
                    <a16:creationId xmlns:a16="http://schemas.microsoft.com/office/drawing/2014/main" id="{D7D6232B-58DF-434C-8AA5-52D3D37320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396106" y="4632729"/>
                <a:ext cx="235254" cy="235254"/>
              </a:xfrm>
              <a:prstGeom prst="rect">
                <a:avLst/>
              </a:prstGeom>
            </p:spPr>
          </p:pic>
          <p:pic>
            <p:nvPicPr>
              <p:cNvPr id="98" name="Grafik 97" descr="Kreise mit Pfeilen">
                <a:extLst>
                  <a:ext uri="{FF2B5EF4-FFF2-40B4-BE49-F238E27FC236}">
                    <a16:creationId xmlns:a16="http://schemas.microsoft.com/office/drawing/2014/main" id="{D66E16E7-9E7C-48E9-A6C5-7EECAF3D30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353880" y="4905821"/>
                <a:ext cx="303415" cy="303415"/>
              </a:xfrm>
              <a:prstGeom prst="rect">
                <a:avLst/>
              </a:prstGeom>
            </p:spPr>
          </p:pic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DD608ED5-9CD3-41D2-AFA5-F8503140C2CF}"/>
                </a:ext>
              </a:extLst>
            </p:cNvPr>
            <p:cNvGrpSpPr/>
            <p:nvPr/>
          </p:nvGrpSpPr>
          <p:grpSpPr>
            <a:xfrm>
              <a:off x="10012225" y="4624795"/>
              <a:ext cx="192750" cy="196946"/>
              <a:chOff x="10012225" y="4638965"/>
              <a:chExt cx="192750" cy="196946"/>
            </a:xfrm>
          </p:grpSpPr>
          <p:sp>
            <p:nvSpPr>
              <p:cNvPr id="180" name="Freeform 2467">
                <a:extLst>
                  <a:ext uri="{FF2B5EF4-FFF2-40B4-BE49-F238E27FC236}">
                    <a16:creationId xmlns:a16="http://schemas.microsoft.com/office/drawing/2014/main" id="{162626FE-9B24-4EF1-AB62-3D5837AB8F3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10054985" y="468382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1" name="Ellipse 180">
                <a:extLst>
                  <a:ext uri="{FF2B5EF4-FFF2-40B4-BE49-F238E27FC236}">
                    <a16:creationId xmlns:a16="http://schemas.microsoft.com/office/drawing/2014/main" id="{C2114BF6-DD62-4EE0-9C56-C7921BFACE20}"/>
                  </a:ext>
                </a:extLst>
              </p:cNvPr>
              <p:cNvSpPr/>
              <p:nvPr/>
            </p:nvSpPr>
            <p:spPr>
              <a:xfrm>
                <a:off x="10012225" y="4638965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76B815AD-3FA5-4F76-A5AC-F9E3FB508890}"/>
                </a:ext>
              </a:extLst>
            </p:cNvPr>
            <p:cNvGrpSpPr/>
            <p:nvPr/>
          </p:nvGrpSpPr>
          <p:grpSpPr>
            <a:xfrm>
              <a:off x="10012225" y="4929576"/>
              <a:ext cx="192750" cy="196946"/>
              <a:chOff x="10012225" y="4929576"/>
              <a:chExt cx="192750" cy="196946"/>
            </a:xfrm>
          </p:grpSpPr>
          <p:sp>
            <p:nvSpPr>
              <p:cNvPr id="182" name="Freeform 2467">
                <a:extLst>
                  <a:ext uri="{FF2B5EF4-FFF2-40B4-BE49-F238E27FC236}">
                    <a16:creationId xmlns:a16="http://schemas.microsoft.com/office/drawing/2014/main" id="{0F822059-4CF3-4D6D-8FC7-AA956ACE3BD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10054985" y="4974434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FCD78126-04B7-4B30-A54E-D812462A14A6}"/>
                  </a:ext>
                </a:extLst>
              </p:cNvPr>
              <p:cNvSpPr/>
              <p:nvPr/>
            </p:nvSpPr>
            <p:spPr>
              <a:xfrm>
                <a:off x="10012225" y="4929576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BF53D60A-D3D7-4EED-85E3-3A85C80A41C5}"/>
                </a:ext>
              </a:extLst>
            </p:cNvPr>
            <p:cNvGrpSpPr/>
            <p:nvPr/>
          </p:nvGrpSpPr>
          <p:grpSpPr>
            <a:xfrm>
              <a:off x="10277195" y="4624795"/>
              <a:ext cx="192750" cy="196946"/>
              <a:chOff x="10268806" y="4638965"/>
              <a:chExt cx="192750" cy="196946"/>
            </a:xfrm>
          </p:grpSpPr>
          <p:sp>
            <p:nvSpPr>
              <p:cNvPr id="194" name="Freeform 2467">
                <a:extLst>
                  <a:ext uri="{FF2B5EF4-FFF2-40B4-BE49-F238E27FC236}">
                    <a16:creationId xmlns:a16="http://schemas.microsoft.com/office/drawing/2014/main" id="{0E012F85-B701-4D13-9BD8-12248133FCB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10311566" y="4683823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16" name="Ellipse 215">
                <a:extLst>
                  <a:ext uri="{FF2B5EF4-FFF2-40B4-BE49-F238E27FC236}">
                    <a16:creationId xmlns:a16="http://schemas.microsoft.com/office/drawing/2014/main" id="{B0D6FABD-86E0-449C-93CC-F1BCC88CE29A}"/>
                  </a:ext>
                </a:extLst>
              </p:cNvPr>
              <p:cNvSpPr/>
              <p:nvPr/>
            </p:nvSpPr>
            <p:spPr>
              <a:xfrm>
                <a:off x="10268806" y="4638965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8EB3E646-7E29-4245-B46D-4F7EA1E27F60}"/>
                </a:ext>
              </a:extLst>
            </p:cNvPr>
            <p:cNvGrpSpPr/>
            <p:nvPr/>
          </p:nvGrpSpPr>
          <p:grpSpPr>
            <a:xfrm>
              <a:off x="10012225" y="4338379"/>
              <a:ext cx="192750" cy="196946"/>
              <a:chOff x="10012225" y="4348354"/>
              <a:chExt cx="192750" cy="196946"/>
            </a:xfrm>
          </p:grpSpPr>
          <p:sp>
            <p:nvSpPr>
              <p:cNvPr id="217" name="Freeform 2467">
                <a:extLst>
                  <a:ext uri="{FF2B5EF4-FFF2-40B4-BE49-F238E27FC236}">
                    <a16:creationId xmlns:a16="http://schemas.microsoft.com/office/drawing/2014/main" id="{919329F1-9361-4330-9B46-53FC53635EE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10056922" y="4392858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18" name="Ellipse 217">
                <a:extLst>
                  <a:ext uri="{FF2B5EF4-FFF2-40B4-BE49-F238E27FC236}">
                    <a16:creationId xmlns:a16="http://schemas.microsoft.com/office/drawing/2014/main" id="{433AC36B-A81E-4F6F-95BD-7E62F9F33F7B}"/>
                  </a:ext>
                </a:extLst>
              </p:cNvPr>
              <p:cNvSpPr/>
              <p:nvPr/>
            </p:nvSpPr>
            <p:spPr>
              <a:xfrm>
                <a:off x="10012225" y="4348354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E90922C-6E4C-4F7D-BFE9-0001087B8267}"/>
                </a:ext>
              </a:extLst>
            </p:cNvPr>
            <p:cNvGrpSpPr/>
            <p:nvPr/>
          </p:nvGrpSpPr>
          <p:grpSpPr>
            <a:xfrm>
              <a:off x="10277194" y="4338379"/>
              <a:ext cx="192750" cy="196946"/>
              <a:chOff x="10268805" y="4355402"/>
              <a:chExt cx="192750" cy="196946"/>
            </a:xfrm>
          </p:grpSpPr>
          <p:sp>
            <p:nvSpPr>
              <p:cNvPr id="237" name="Freeform 2467">
                <a:extLst>
                  <a:ext uri="{FF2B5EF4-FFF2-40B4-BE49-F238E27FC236}">
                    <a16:creationId xmlns:a16="http://schemas.microsoft.com/office/drawing/2014/main" id="{8AF1FDF9-2F2A-4B3B-A302-B68B83AEB08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2700000">
                <a:off x="10313502" y="4399906"/>
                <a:ext cx="107231" cy="107231"/>
              </a:xfrm>
              <a:custGeom>
                <a:avLst/>
                <a:gdLst>
                  <a:gd name="T0" fmla="*/ 143 w 199"/>
                  <a:gd name="T1" fmla="*/ 12 h 199"/>
                  <a:gd name="T2" fmla="*/ 99 w 199"/>
                  <a:gd name="T3" fmla="*/ 55 h 199"/>
                  <a:gd name="T4" fmla="*/ 56 w 199"/>
                  <a:gd name="T5" fmla="*/ 12 h 199"/>
                  <a:gd name="T6" fmla="*/ 12 w 199"/>
                  <a:gd name="T7" fmla="*/ 12 h 199"/>
                  <a:gd name="T8" fmla="*/ 12 w 199"/>
                  <a:gd name="T9" fmla="*/ 55 h 199"/>
                  <a:gd name="T10" fmla="*/ 56 w 199"/>
                  <a:gd name="T11" fmla="*/ 99 h 199"/>
                  <a:gd name="T12" fmla="*/ 12 w 199"/>
                  <a:gd name="T13" fmla="*/ 143 h 199"/>
                  <a:gd name="T14" fmla="*/ 12 w 199"/>
                  <a:gd name="T15" fmla="*/ 186 h 199"/>
                  <a:gd name="T16" fmla="*/ 56 w 199"/>
                  <a:gd name="T17" fmla="*/ 186 h 199"/>
                  <a:gd name="T18" fmla="*/ 99 w 199"/>
                  <a:gd name="T19" fmla="*/ 143 h 199"/>
                  <a:gd name="T20" fmla="*/ 143 w 199"/>
                  <a:gd name="T21" fmla="*/ 186 h 199"/>
                  <a:gd name="T22" fmla="*/ 187 w 199"/>
                  <a:gd name="T23" fmla="*/ 186 h 199"/>
                  <a:gd name="T24" fmla="*/ 187 w 199"/>
                  <a:gd name="T25" fmla="*/ 143 h 199"/>
                  <a:gd name="T26" fmla="*/ 143 w 199"/>
                  <a:gd name="T27" fmla="*/ 99 h 199"/>
                  <a:gd name="T28" fmla="*/ 187 w 199"/>
                  <a:gd name="T29" fmla="*/ 55 h 199"/>
                  <a:gd name="T30" fmla="*/ 187 w 199"/>
                  <a:gd name="T31" fmla="*/ 12 h 199"/>
                  <a:gd name="T32" fmla="*/ 143 w 199"/>
                  <a:gd name="T33" fmla="*/ 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9" h="199">
                    <a:moveTo>
                      <a:pt x="143" y="12"/>
                    </a:moveTo>
                    <a:cubicBezTo>
                      <a:pt x="99" y="55"/>
                      <a:pt x="99" y="55"/>
                      <a:pt x="99" y="55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44" y="0"/>
                      <a:pt x="24" y="0"/>
                      <a:pt x="12" y="12"/>
                    </a:cubicBezTo>
                    <a:cubicBezTo>
                      <a:pt x="0" y="24"/>
                      <a:pt x="0" y="43"/>
                      <a:pt x="12" y="55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0" y="155"/>
                      <a:pt x="0" y="174"/>
                      <a:pt x="12" y="186"/>
                    </a:cubicBezTo>
                    <a:cubicBezTo>
                      <a:pt x="24" y="198"/>
                      <a:pt x="44" y="198"/>
                      <a:pt x="56" y="186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55" y="199"/>
                      <a:pt x="175" y="199"/>
                      <a:pt x="187" y="186"/>
                    </a:cubicBezTo>
                    <a:cubicBezTo>
                      <a:pt x="199" y="174"/>
                      <a:pt x="199" y="155"/>
                      <a:pt x="187" y="143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99" y="43"/>
                      <a:pt x="199" y="24"/>
                      <a:pt x="187" y="12"/>
                    </a:cubicBezTo>
                    <a:cubicBezTo>
                      <a:pt x="175" y="0"/>
                      <a:pt x="155" y="0"/>
                      <a:pt x="143" y="1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0" name="Ellipse 239">
                <a:extLst>
                  <a:ext uri="{FF2B5EF4-FFF2-40B4-BE49-F238E27FC236}">
                    <a16:creationId xmlns:a16="http://schemas.microsoft.com/office/drawing/2014/main" id="{5142AF1A-EE13-4064-833D-EF3528900FE7}"/>
                  </a:ext>
                </a:extLst>
              </p:cNvPr>
              <p:cNvSpPr/>
              <p:nvPr/>
            </p:nvSpPr>
            <p:spPr>
              <a:xfrm>
                <a:off x="10268805" y="4355402"/>
                <a:ext cx="192750" cy="196946"/>
              </a:xfrm>
              <a:prstGeom prst="ellipse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</p:grpSp>
      <p:pic>
        <p:nvPicPr>
          <p:cNvPr id="241" name="Grafik 240">
            <a:extLst>
              <a:ext uri="{FF2B5EF4-FFF2-40B4-BE49-F238E27FC236}">
                <a16:creationId xmlns:a16="http://schemas.microsoft.com/office/drawing/2014/main" id="{CD3EBA82-4642-4C06-B733-6A450B1E0727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5129" b="86706" l="9987" r="89980">
                        <a14:foregroundMark x1="30522" y1="18700" x2="47751" y2="15129"/>
                        <a14:foregroundMark x1="47751" y1="15129" x2="64848" y2="20610"/>
                        <a14:foregroundMark x1="64848" y1="20610" x2="71230" y2="30903"/>
                        <a14:foregroundMark x1="59954" y1="25744" x2="56184" y2="39360"/>
                        <a14:foregroundMark x1="56184" y1="39360" x2="62765" y2="26265"/>
                        <a14:foregroundMark x1="62765" y1="26265" x2="64980" y2="28100"/>
                        <a14:foregroundMark x1="59954" y1="20809" x2="58069" y2="20561"/>
                        <a14:foregroundMark x1="59656" y1="24554" x2="60880" y2="23636"/>
                        <a14:foregroundMark x1="41171" y1="25744" x2="37103" y2="26215"/>
                        <a14:foregroundMark x1="35847" y1="42411" x2="43221" y2="54911"/>
                        <a14:foregroundMark x1="43221" y1="54911" x2="66667" y2="33581"/>
                        <a14:foregroundMark x1="66667" y1="33581" x2="66204" y2="41468"/>
                        <a14:foregroundMark x1="58069" y1="44296" x2="69345" y2="55481"/>
                        <a14:foregroundMark x1="69345" y1="55481" x2="69345" y2="69420"/>
                        <a14:foregroundMark x1="69345" y1="69420" x2="50926" y2="74926"/>
                        <a14:foregroundMark x1="50926" y1="74926" x2="59028" y2="45709"/>
                        <a14:foregroundMark x1="59028" y1="45709" x2="53704" y2="58854"/>
                        <a14:foregroundMark x1="53704" y1="58854" x2="54332" y2="45337"/>
                        <a14:foregroundMark x1="54332" y1="45337" x2="64980" y2="56027"/>
                        <a14:foregroundMark x1="64980" y1="56027" x2="61640" y2="69320"/>
                        <a14:foregroundMark x1="61640" y1="69320" x2="61508" y2="60020"/>
                        <a14:foregroundMark x1="41171" y1="27158" x2="58003" y2="21974"/>
                        <a14:foregroundMark x1="58003" y1="21974" x2="57771" y2="22445"/>
                        <a14:foregroundMark x1="37103" y1="29018" x2="37103" y2="29018"/>
                        <a14:foregroundMark x1="36475" y1="29266" x2="40840" y2="30432"/>
                        <a14:foregroundMark x1="35847" y1="29489" x2="41799" y2="31374"/>
                        <a14:foregroundMark x1="42097" y1="78571" x2="54332" y2="79985"/>
                        <a14:foregroundMark x1="30522" y1="38418" x2="31448" y2="55084"/>
                        <a14:foregroundMark x1="30820" y1="44048" x2="31151" y2="55804"/>
                        <a14:foregroundMark x1="30522" y1="48983" x2="31448" y2="55556"/>
                        <a14:foregroundMark x1="30820" y1="78348" x2="45734" y2="86285"/>
                        <a14:foregroundMark x1="45734" y1="86285" x2="65642" y2="81250"/>
                        <a14:foregroundMark x1="65642" y1="81250" x2="47255" y2="81870"/>
                        <a14:foregroundMark x1="47255" y1="81870" x2="31448" y2="78100"/>
                        <a14:foregroundMark x1="54332" y1="80928" x2="58399" y2="78571"/>
                        <a14:foregroundMark x1="33333" y1="76240" x2="30820" y2="75298"/>
                      </a14:backgroundRemoval>
                    </a14:imgEffect>
                  </a14:imgLayer>
                </a14:imgProps>
              </a:ext>
            </a:extLst>
          </a:blip>
          <a:srcRect t="10595" r="-2181" b="4830"/>
          <a:stretch/>
        </p:blipFill>
        <p:spPr>
          <a:xfrm>
            <a:off x="9385505" y="1151821"/>
            <a:ext cx="1217590" cy="1343751"/>
          </a:xfrm>
          <a:prstGeom prst="rect">
            <a:avLst/>
          </a:prstGeom>
        </p:spPr>
      </p:pic>
      <p:pic>
        <p:nvPicPr>
          <p:cNvPr id="31" name="Grafik 30" descr="Cloudcomputing Silhouette">
            <a:extLst>
              <a:ext uri="{FF2B5EF4-FFF2-40B4-BE49-F238E27FC236}">
                <a16:creationId xmlns:a16="http://schemas.microsoft.com/office/drawing/2014/main" id="{FCCB6AF6-E963-B472-1A11-8A05F58B2E4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299682" y="1390055"/>
            <a:ext cx="625765" cy="625765"/>
          </a:xfrm>
          <a:prstGeom prst="rect">
            <a:avLst/>
          </a:prstGeo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7C7963-D5EA-D11B-9EDD-BD02DD4A5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30" name="Foliennummernplatzhalter 29">
            <a:extLst>
              <a:ext uri="{FF2B5EF4-FFF2-40B4-BE49-F238E27FC236}">
                <a16:creationId xmlns:a16="http://schemas.microsoft.com/office/drawing/2014/main" id="{8231248D-25D8-B3AF-F805-8B9CA083B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8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24" name="Datumsplatzhalter 223">
            <a:extLst>
              <a:ext uri="{FF2B5EF4-FFF2-40B4-BE49-F238E27FC236}">
                <a16:creationId xmlns:a16="http://schemas.microsoft.com/office/drawing/2014/main" id="{34505628-23DC-5417-7E3C-D598C000959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7035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225364F-9812-5FB7-40F3-1BEE4C1FAE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898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225364F-9812-5FB7-40F3-1BEE4C1FA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301E51E-4BBF-B741-293A-481D445001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 err="1"/>
              <a:t>Unsere</a:t>
            </a:r>
            <a:r>
              <a:rPr lang="de-DE" dirty="0"/>
              <a:t> </a:t>
            </a:r>
            <a:r>
              <a:rPr lang="de-DE" dirty="0" err="1"/>
              <a:t>Produkte</a:t>
            </a:r>
            <a:r>
              <a:rPr lang="de-DE" dirty="0"/>
              <a:t>: </a:t>
            </a:r>
            <a:r>
              <a:rPr lang="de-DE" dirty="0" err="1"/>
              <a:t>Stanzwerkzeuge</a:t>
            </a:r>
            <a:r>
              <a:rPr lang="de-DE" dirty="0"/>
              <a:t> für TRUMPF </a:t>
            </a:r>
            <a:r>
              <a:rPr lang="de-DE" dirty="0" err="1"/>
              <a:t>Maschinen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B50D9E-F1FA-7729-F889-41DE3750D88C}"/>
              </a:ext>
            </a:extLst>
          </p:cNvPr>
          <p:cNvSpPr>
            <a:spLocks noGrp="1"/>
          </p:cNvSpPr>
          <p:nvPr/>
        </p:nvSpPr>
        <p:spPr>
          <a:xfrm>
            <a:off x="515938" y="919611"/>
            <a:ext cx="11160000" cy="387798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F743552-CFAB-8AEF-4C81-E1F4E57021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6B950F-6F62-E1B0-AC3B-FFEBF53E9C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2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455C1FA-1DD5-F0FA-B953-C5937B5F69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722822A2-8F47-DF22-F4A4-D78C12843F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626" y="1271021"/>
            <a:ext cx="10278747" cy="434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39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999167-B36C-52B5-0715-9EE11BC6F7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999167-B36C-52B5-0715-9EE11BC6F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FC0B6BA-7CEF-7DB5-D6AE-9ADE4BD19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 err="1"/>
              <a:t>Unsere</a:t>
            </a:r>
            <a:r>
              <a:rPr lang="de-DE" dirty="0"/>
              <a:t> </a:t>
            </a:r>
            <a:r>
              <a:rPr lang="de-DE" dirty="0" err="1"/>
              <a:t>Herausforderungen</a:t>
            </a:r>
            <a:r>
              <a:rPr lang="de-DE" dirty="0"/>
              <a:t>: Business </a:t>
            </a:r>
            <a:r>
              <a:rPr lang="de-DE" dirty="0" err="1"/>
              <a:t>Stanzwerkzeuge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F71E45D-906E-2648-ACEE-BCB58EC48553}"/>
              </a:ext>
            </a:extLst>
          </p:cNvPr>
          <p:cNvSpPr>
            <a:spLocks noGrp="1"/>
          </p:cNvSpPr>
          <p:nvPr/>
        </p:nvSpPr>
        <p:spPr>
          <a:xfrm>
            <a:off x="515938" y="919611"/>
            <a:ext cx="11160000" cy="387798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BCB9890-DA86-3425-D2CE-BDDE1B6470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9461" y="1981120"/>
            <a:ext cx="549867" cy="549867"/>
          </a:xfrm>
          <a:prstGeom prst="rect">
            <a:avLst/>
          </a:prstGeom>
        </p:spPr>
      </p:pic>
      <p:pic>
        <p:nvPicPr>
          <p:cNvPr id="12" name="Grafik 11" descr="Zahnrad Silhouette">
            <a:extLst>
              <a:ext uri="{FF2B5EF4-FFF2-40B4-BE49-F238E27FC236}">
                <a16:creationId xmlns:a16="http://schemas.microsoft.com/office/drawing/2014/main" id="{5CD3E042-AD39-A2A6-CB5A-C9F8F15BDB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5240" y="3781278"/>
            <a:ext cx="738309" cy="738309"/>
          </a:xfrm>
          <a:prstGeom prst="rect">
            <a:avLst/>
          </a:prstGeom>
        </p:spPr>
      </p:pic>
      <p:pic>
        <p:nvPicPr>
          <p:cNvPr id="14" name="Grafik 13" descr="Marke 1 Silhouette">
            <a:extLst>
              <a:ext uri="{FF2B5EF4-FFF2-40B4-BE49-F238E27FC236}">
                <a16:creationId xmlns:a16="http://schemas.microsoft.com/office/drawing/2014/main" id="{E8132DB4-A14E-1130-258C-F981A9CD23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309517" y="3233800"/>
            <a:ext cx="549867" cy="549867"/>
          </a:xfrm>
          <a:prstGeom prst="rect">
            <a:avLst/>
          </a:prstGeom>
        </p:spPr>
      </p:pic>
      <p:pic>
        <p:nvPicPr>
          <p:cNvPr id="3" name="Überwachung und Analyse - Monitoring and analysis">
            <a:extLst>
              <a:ext uri="{FF2B5EF4-FFF2-40B4-BE49-F238E27FC236}">
                <a16:creationId xmlns:a16="http://schemas.microsoft.com/office/drawing/2014/main" id="{8E4BF4D8-E3A0-18F6-D278-6F5E7782175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90567" y="1821182"/>
            <a:ext cx="639925" cy="456555"/>
          </a:xfrm>
          <a:prstGeom prst="rect">
            <a:avLst/>
          </a:prstGeom>
        </p:spPr>
      </p:pic>
      <p:pic>
        <p:nvPicPr>
          <p:cNvPr id="10" name="E-Shop Punching Tools">
            <a:extLst>
              <a:ext uri="{FF2B5EF4-FFF2-40B4-BE49-F238E27FC236}">
                <a16:creationId xmlns:a16="http://schemas.microsoft.com/office/drawing/2014/main" id="{EE6A415A-8208-D80F-3D4B-F397CB17088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90567" y="2570200"/>
            <a:ext cx="556932" cy="456555"/>
          </a:xfrm>
          <a:prstGeom prst="rect">
            <a:avLst/>
          </a:prstGeom>
        </p:spPr>
      </p:pic>
      <p:pic>
        <p:nvPicPr>
          <p:cNvPr id="21" name="Grafik 20" descr="Zielgruppe Silhouette">
            <a:extLst>
              <a:ext uri="{FF2B5EF4-FFF2-40B4-BE49-F238E27FC236}">
                <a16:creationId xmlns:a16="http://schemas.microsoft.com/office/drawing/2014/main" id="{BCC44B32-F903-A940-05A6-1C2058DEB2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87088" y="2910524"/>
            <a:ext cx="654612" cy="654612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D9AC783E-1C98-7EF8-BE45-93C1579678A7}"/>
              </a:ext>
            </a:extLst>
          </p:cNvPr>
          <p:cNvSpPr/>
          <p:nvPr/>
        </p:nvSpPr>
        <p:spPr>
          <a:xfrm>
            <a:off x="1862344" y="2049460"/>
            <a:ext cx="3197327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Geschwindigkei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B37920D7-717E-62F7-7611-43029A9D9155}"/>
              </a:ext>
            </a:extLst>
          </p:cNvPr>
          <p:cNvSpPr/>
          <p:nvPr/>
        </p:nvSpPr>
        <p:spPr>
          <a:xfrm>
            <a:off x="1862344" y="3844743"/>
            <a:ext cx="3197327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Sonderentwicklungsbedarf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C916F8E-42C3-A477-C143-00362086495D}"/>
              </a:ext>
            </a:extLst>
          </p:cNvPr>
          <p:cNvSpPr/>
          <p:nvPr/>
        </p:nvSpPr>
        <p:spPr>
          <a:xfrm>
            <a:off x="8255212" y="1743795"/>
            <a:ext cx="3197327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Vernetzte Prozesse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3F4F0E2-D7ED-A7A3-9020-BFD14ED51C9D}"/>
              </a:ext>
            </a:extLst>
          </p:cNvPr>
          <p:cNvSpPr/>
          <p:nvPr/>
        </p:nvSpPr>
        <p:spPr>
          <a:xfrm>
            <a:off x="1862344" y="2946757"/>
            <a:ext cx="3197327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Customizing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0627BA2-D181-1DB0-A3A7-952DCABAF484}"/>
              </a:ext>
            </a:extLst>
          </p:cNvPr>
          <p:cNvSpPr/>
          <p:nvPr/>
        </p:nvSpPr>
        <p:spPr>
          <a:xfrm>
            <a:off x="8255212" y="2485770"/>
            <a:ext cx="3197327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Konfiguratio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11D829-B651-90AA-97AD-90AC8FB29177}"/>
              </a:ext>
            </a:extLst>
          </p:cNvPr>
          <p:cNvSpPr/>
          <p:nvPr/>
        </p:nvSpPr>
        <p:spPr>
          <a:xfrm>
            <a:off x="8255212" y="3227746"/>
            <a:ext cx="3197327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Losgröße 1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5CAA7D9-B121-EDBB-0D63-C5F115A19A3E}"/>
              </a:ext>
            </a:extLst>
          </p:cNvPr>
          <p:cNvGrpSpPr/>
          <p:nvPr/>
        </p:nvGrpSpPr>
        <p:grpSpPr>
          <a:xfrm>
            <a:off x="1809548" y="5134056"/>
            <a:ext cx="8572904" cy="576000"/>
            <a:chOff x="2233871" y="5161238"/>
            <a:chExt cx="8572904" cy="576000"/>
          </a:xfrm>
        </p:grpSpPr>
        <p:pic>
          <p:nvPicPr>
            <p:cNvPr id="1026" name="Picture 2" descr="Bild">
              <a:extLst>
                <a:ext uri="{FF2B5EF4-FFF2-40B4-BE49-F238E27FC236}">
                  <a16:creationId xmlns:a16="http://schemas.microsoft.com/office/drawing/2014/main" id="{65933F98-9726-C0F8-26FD-6BF8967ACEE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68" r="5083"/>
            <a:stretch/>
          </p:blipFill>
          <p:spPr bwMode="auto">
            <a:xfrm>
              <a:off x="2233871" y="5161238"/>
              <a:ext cx="678736" cy="57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09A6E064-A35C-BF7E-096A-0C6C7ACFE614}"/>
                </a:ext>
              </a:extLst>
            </p:cNvPr>
            <p:cNvSpPr/>
            <p:nvPr/>
          </p:nvSpPr>
          <p:spPr>
            <a:xfrm>
              <a:off x="3110575" y="5168251"/>
              <a:ext cx="7696200" cy="561975"/>
            </a:xfrm>
            <a:prstGeom prst="rect">
              <a:avLst/>
            </a:prstGeom>
            <a:solidFill>
              <a:srgbClr val="E9EEF1"/>
            </a:solidFill>
            <a:ln w="12700" cap="flat" cmpd="sng" algn="ctr">
              <a:solidFill>
                <a:schemeClr val="hlink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600" dirty="0"/>
                <a:t>Auslieferung Standardwerkzeuge bei Bestellung bis 14 Uhr am gleichen Tag</a:t>
              </a:r>
            </a:p>
          </p:txBody>
        </p:sp>
      </p:grpSp>
      <p:sp>
        <p:nvSpPr>
          <p:cNvPr id="7" name="Pfeil: gestreift nach rechts 6">
            <a:extLst>
              <a:ext uri="{FF2B5EF4-FFF2-40B4-BE49-F238E27FC236}">
                <a16:creationId xmlns:a16="http://schemas.microsoft.com/office/drawing/2014/main" id="{C7AF5215-7B35-36D4-2665-66D5C9AE52DC}"/>
              </a:ext>
            </a:extLst>
          </p:cNvPr>
          <p:cNvSpPr/>
          <p:nvPr/>
        </p:nvSpPr>
        <p:spPr>
          <a:xfrm>
            <a:off x="5548809" y="2776642"/>
            <a:ext cx="1094382" cy="914400"/>
          </a:xfrm>
          <a:prstGeom prst="striped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0422BE-E8D7-FFFA-3ECA-D82F39B8A6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2EEA9C0-30F0-40DB-A877-3BDBFA03DE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3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D0B93BCE-49CF-2187-08D9-E1759A18664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pic>
        <p:nvPicPr>
          <p:cNvPr id="22" name="Zusammenarbeiten - Working Together">
            <a:extLst>
              <a:ext uri="{FF2B5EF4-FFF2-40B4-BE49-F238E27FC236}">
                <a16:creationId xmlns:a16="http://schemas.microsoft.com/office/drawing/2014/main" id="{19E9F7D5-81D2-C20E-AD0B-D85EF400442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252415" y="3969720"/>
            <a:ext cx="664071" cy="549867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391B87CD-E456-A118-D4D5-DE620BC5BB69}"/>
              </a:ext>
            </a:extLst>
          </p:cNvPr>
          <p:cNvSpPr/>
          <p:nvPr/>
        </p:nvSpPr>
        <p:spPr>
          <a:xfrm>
            <a:off x="8255212" y="3969720"/>
            <a:ext cx="3197327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600" dirty="0"/>
              <a:t>Gesamte Kompetenz am Standor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AC7E6A1-204D-D37D-E80D-7C847F62AE5D}"/>
              </a:ext>
            </a:extLst>
          </p:cNvPr>
          <p:cNvSpPr/>
          <p:nvPr/>
        </p:nvSpPr>
        <p:spPr>
          <a:xfrm>
            <a:off x="739461" y="1136860"/>
            <a:ext cx="4320211" cy="3635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b="1" dirty="0"/>
              <a:t>Anforder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C35E084-3C57-3259-014D-F21690FDF215}"/>
              </a:ext>
            </a:extLst>
          </p:cNvPr>
          <p:cNvSpPr/>
          <p:nvPr/>
        </p:nvSpPr>
        <p:spPr>
          <a:xfrm>
            <a:off x="7290567" y="1087757"/>
            <a:ext cx="4161972" cy="3635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b="1" dirty="0"/>
              <a:t>Lösungen</a:t>
            </a:r>
          </a:p>
        </p:txBody>
      </p:sp>
    </p:spTree>
    <p:extLst>
      <p:ext uri="{BB962C8B-B14F-4D97-AF65-F5344CB8AC3E}">
        <p14:creationId xmlns:p14="http://schemas.microsoft.com/office/powerpoint/2010/main" val="2357510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7" grpId="0" animBg="1"/>
      <p:bldP spid="13" grpId="0" animBg="1"/>
      <p:bldP spid="7" grpId="0" animBg="1"/>
      <p:bldP spid="29" grpId="0" animBg="1"/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52BB141-ED85-7234-2D1D-5C2843230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98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52BB141-ED85-7234-2D1D-5C2843230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>
            <a:extLst>
              <a:ext uri="{FF2B5EF4-FFF2-40B4-BE49-F238E27FC236}">
                <a16:creationId xmlns:a16="http://schemas.microsoft.com/office/drawing/2014/main" id="{D83076B2-99C8-49A0-8F39-42B899B48F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Industrie 4.0</a:t>
            </a:r>
          </a:p>
        </p:txBody>
      </p:sp>
      <p:pic>
        <p:nvPicPr>
          <p:cNvPr id="35" name="Picture 7">
            <a:extLst>
              <a:ext uri="{FF2B5EF4-FFF2-40B4-BE49-F238E27FC236}">
                <a16:creationId xmlns:a16="http://schemas.microsoft.com/office/drawing/2014/main" id="{DD60EB35-9BB9-45DD-8BF4-0BF6AA36B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669491" y="3555029"/>
            <a:ext cx="426248" cy="11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Rechteck 36">
            <a:extLst>
              <a:ext uri="{FF2B5EF4-FFF2-40B4-BE49-F238E27FC236}">
                <a16:creationId xmlns:a16="http://schemas.microsoft.com/office/drawing/2014/main" id="{383A71AC-BB60-4F27-974A-12F2EF56123B}"/>
              </a:ext>
            </a:extLst>
          </p:cNvPr>
          <p:cNvSpPr/>
          <p:nvPr/>
        </p:nvSpPr>
        <p:spPr>
          <a:xfrm>
            <a:off x="515939" y="5140070"/>
            <a:ext cx="2144499" cy="3860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57835">
              <a:lnSpc>
                <a:spcPts val="2200"/>
              </a:lnSpc>
            </a:pPr>
            <a:r>
              <a:rPr lang="de-DE" sz="1000" i="1" dirty="0">
                <a:solidFill>
                  <a:schemeClr val="dk1"/>
                </a:solidFill>
              </a:rPr>
              <a:t>Der Kunde startet die Maschin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4900D07-B183-415B-8C9F-9D663FD11449}"/>
              </a:ext>
            </a:extLst>
          </p:cNvPr>
          <p:cNvGrpSpPr/>
          <p:nvPr/>
        </p:nvGrpSpPr>
        <p:grpSpPr>
          <a:xfrm>
            <a:off x="515939" y="4502220"/>
            <a:ext cx="2144498" cy="637849"/>
            <a:chOff x="515939" y="3752166"/>
            <a:chExt cx="2144474" cy="717164"/>
          </a:xfrm>
        </p:grpSpPr>
        <p:cxnSp>
          <p:nvCxnSpPr>
            <p:cNvPr id="38" name="Gerade Verbindung 6">
              <a:extLst>
                <a:ext uri="{FF2B5EF4-FFF2-40B4-BE49-F238E27FC236}">
                  <a16:creationId xmlns:a16="http://schemas.microsoft.com/office/drawing/2014/main" id="{752F9CE5-C7F2-46EE-8262-0A9C453A8662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9" y="4469330"/>
              <a:ext cx="198720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Inhaltsplatzhalter 16">
              <a:extLst>
                <a:ext uri="{FF2B5EF4-FFF2-40B4-BE49-F238E27FC236}">
                  <a16:creationId xmlns:a16="http://schemas.microsoft.com/office/drawing/2014/main" id="{721B32BD-CF2F-4366-BBC1-8485F794D9CC}"/>
                </a:ext>
              </a:extLst>
            </p:cNvPr>
            <p:cNvSpPr txBox="1">
              <a:spLocks/>
            </p:cNvSpPr>
            <p:nvPr/>
          </p:nvSpPr>
          <p:spPr>
            <a:xfrm>
              <a:off x="515939" y="3752166"/>
              <a:ext cx="2144474" cy="717164"/>
            </a:xfrm>
            <a:prstGeom prst="rect">
              <a:avLst/>
            </a:prstGeom>
            <a:ln>
              <a:noFill/>
            </a:ln>
            <a:effectLst/>
          </p:spPr>
          <p:txBody>
            <a:bodyPr vert="horz" wrap="square" lIns="0" tIns="72000" rIns="0" bIns="72000" rtlCol="0" anchor="b" anchorCtr="0">
              <a:sp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r>
                <a:rPr lang="de-DE" dirty="0"/>
                <a:t>Automatische Auftragsabwicklung</a:t>
              </a:r>
            </a:p>
          </p:txBody>
        </p:sp>
      </p:grpSp>
      <p:sp>
        <p:nvSpPr>
          <p:cNvPr id="48" name="Textfeld 47">
            <a:extLst>
              <a:ext uri="{FF2B5EF4-FFF2-40B4-BE49-F238E27FC236}">
                <a16:creationId xmlns:a16="http://schemas.microsoft.com/office/drawing/2014/main" id="{824CA2A5-3CDE-4BFB-BE42-7943336893D4}"/>
              </a:ext>
            </a:extLst>
          </p:cNvPr>
          <p:cNvSpPr txBox="1"/>
          <p:nvPr/>
        </p:nvSpPr>
        <p:spPr>
          <a:xfrm>
            <a:off x="2847591" y="4730240"/>
            <a:ext cx="2282895" cy="25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ts val="2200"/>
              </a:lnSpc>
            </a:pPr>
            <a:endParaRPr lang="de-DE" sz="1000" b="1" i="1" dirty="0">
              <a:solidFill>
                <a:schemeClr val="dk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77D819D9-9ACA-43B9-9E35-63FEDEDBD01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835237" y="4704132"/>
            <a:ext cx="2282920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 defTabSz="957835">
              <a:lnSpc>
                <a:spcPts val="2200"/>
              </a:lnSpc>
              <a:buNone/>
            </a:pPr>
            <a:r>
              <a:rPr lang="de-DE" sz="1000" i="1" dirty="0">
                <a:solidFill>
                  <a:schemeClr val="dk1"/>
                </a:solidFill>
              </a:rPr>
              <a:t>Werkstück als Informationsträger</a:t>
            </a:r>
          </a:p>
        </p:txBody>
      </p:sp>
      <p:cxnSp>
        <p:nvCxnSpPr>
          <p:cNvPr id="77" name="Gerade Verbindung 6">
            <a:extLst>
              <a:ext uri="{FF2B5EF4-FFF2-40B4-BE49-F238E27FC236}">
                <a16:creationId xmlns:a16="http://schemas.microsoft.com/office/drawing/2014/main" id="{4FEAE43D-A276-41C7-AB7D-3554192E7DBB}"/>
              </a:ext>
            </a:extLst>
          </p:cNvPr>
          <p:cNvCxnSpPr>
            <a:cxnSpLocks/>
          </p:cNvCxnSpPr>
          <p:nvPr/>
        </p:nvCxnSpPr>
        <p:spPr>
          <a:xfrm>
            <a:off x="2957521" y="4704132"/>
            <a:ext cx="3570346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Inhaltsplatzhalter 16">
            <a:extLst>
              <a:ext uri="{FF2B5EF4-FFF2-40B4-BE49-F238E27FC236}">
                <a16:creationId xmlns:a16="http://schemas.microsoft.com/office/drawing/2014/main" id="{86E4ABC5-D012-4113-86CA-45BAE3E7E9AA}"/>
              </a:ext>
            </a:extLst>
          </p:cNvPr>
          <p:cNvSpPr txBox="1">
            <a:spLocks/>
          </p:cNvSpPr>
          <p:nvPr/>
        </p:nvSpPr>
        <p:spPr>
          <a:xfrm>
            <a:off x="2835237" y="4137402"/>
            <a:ext cx="4382536" cy="566727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>
                <a:cs typeface="Arial" panose="020B0604020202020204" pitchFamily="34" charset="0"/>
              </a:defRPr>
            </a:lvl2pPr>
            <a:lvl3pPr marL="21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3pPr>
            <a:lvl4pPr marL="43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4pPr>
            <a:lvl5pPr marL="648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5pPr>
            <a:lvl6pPr marL="864000" indent="-216000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dirty="0">
                <a:cs typeface="Arial" panose="020B0604020202020204" pitchFamily="34" charset="0"/>
              </a:defRPr>
            </a:lvl6pPr>
            <a:lvl7pPr marL="1080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7pPr>
            <a:lvl8pPr marL="129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8pPr>
            <a:lvl9pPr marL="151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aseline="0"/>
            </a:lvl9pPr>
          </a:lstStyle>
          <a:p>
            <a:r>
              <a:rPr lang="de-DE" dirty="0"/>
              <a:t>Vernetzte Produktion: Ausbaustufe 1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B721ECF-3C7B-491B-8B3E-9F3D81B1069A}"/>
              </a:ext>
            </a:extLst>
          </p:cNvPr>
          <p:cNvSpPr/>
          <p:nvPr/>
        </p:nvSpPr>
        <p:spPr>
          <a:xfrm>
            <a:off x="5053834" y="4704132"/>
            <a:ext cx="2063543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57835">
              <a:lnSpc>
                <a:spcPts val="2200"/>
              </a:lnSpc>
            </a:pPr>
            <a:r>
              <a:rPr lang="de-DE" sz="1000" i="1" dirty="0">
                <a:solidFill>
                  <a:schemeClr val="dk1"/>
                </a:solidFill>
              </a:rPr>
              <a:t>Nachbestellung per Foto</a:t>
            </a:r>
            <a:endParaRPr lang="de-DE" sz="1000" dirty="0">
              <a:solidFill>
                <a:schemeClr val="dk1"/>
              </a:solidFill>
            </a:endParaRPr>
          </a:p>
        </p:txBody>
      </p:sp>
      <p:pic>
        <p:nvPicPr>
          <p:cNvPr id="36" name="Picture 7">
            <a:extLst>
              <a:ext uri="{FF2B5EF4-FFF2-40B4-BE49-F238E27FC236}">
                <a16:creationId xmlns:a16="http://schemas.microsoft.com/office/drawing/2014/main" id="{D62DAAFC-2903-4D94-9DC7-200771D7C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125240" y="3135019"/>
            <a:ext cx="411820" cy="119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unching tool Scanner">
            <a:extLst>
              <a:ext uri="{FF2B5EF4-FFF2-40B4-BE49-F238E27FC236}">
                <a16:creationId xmlns:a16="http://schemas.microsoft.com/office/drawing/2014/main" id="{43266FE7-07B3-C1BB-894E-5E66127D0B1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77172" y="3424056"/>
            <a:ext cx="603540" cy="670600"/>
          </a:xfrm>
          <a:prstGeom prst="rect">
            <a:avLst/>
          </a:prstGeom>
        </p:spPr>
      </p:pic>
      <p:pic>
        <p:nvPicPr>
          <p:cNvPr id="26" name="E-Shop Punching Tools">
            <a:extLst>
              <a:ext uri="{FF2B5EF4-FFF2-40B4-BE49-F238E27FC236}">
                <a16:creationId xmlns:a16="http://schemas.microsoft.com/office/drawing/2014/main" id="{3D2C0374-021E-B508-6A33-BFBF293D161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12263" y="3788778"/>
            <a:ext cx="818037" cy="670601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151701C-BDB6-31CC-299D-27D87087040E}"/>
              </a:ext>
            </a:extLst>
          </p:cNvPr>
          <p:cNvGrpSpPr>
            <a:grpSpLocks noChangeAspect="1"/>
          </p:cNvGrpSpPr>
          <p:nvPr/>
        </p:nvGrpSpPr>
        <p:grpSpPr>
          <a:xfrm>
            <a:off x="3633323" y="3259899"/>
            <a:ext cx="426248" cy="929000"/>
            <a:chOff x="2506283" y="2205607"/>
            <a:chExt cx="648000" cy="1412308"/>
          </a:xfrm>
        </p:grpSpPr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D067FBC3-5402-282D-45D0-668A712B2E02}"/>
                </a:ext>
              </a:extLst>
            </p:cNvPr>
            <p:cNvPicPr>
              <a:picLocks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506283" y="2205607"/>
              <a:ext cx="648000" cy="1412308"/>
            </a:xfrm>
            <a:prstGeom prst="rect">
              <a:avLst/>
            </a:prstGeom>
          </p:spPr>
        </p:pic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99CBA120-BC5B-6386-281C-F4EC4AB83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731863" y="2362178"/>
              <a:ext cx="196840" cy="105513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C45CFDA-7DCD-837D-CE08-C1BA82F104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5C62144-AFA4-A657-4DE4-36FF850211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4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F07CFD1-C34F-3AAC-3477-7737908C4C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275AED1F-14DF-0018-6927-D1AB17BA6F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5938" y="831428"/>
            <a:ext cx="11160000" cy="387798"/>
          </a:xfrm>
        </p:spPr>
        <p:txBody>
          <a:bodyPr/>
          <a:lstStyle/>
          <a:p>
            <a:r>
              <a:rPr lang="de-DE" dirty="0"/>
              <a:t>Entwicklung im Werk Gerlingen</a:t>
            </a:r>
          </a:p>
        </p:txBody>
      </p:sp>
      <p:sp>
        <p:nvSpPr>
          <p:cNvPr id="8" name="MIO_OBJECT1">
            <a:extLst>
              <a:ext uri="{FF2B5EF4-FFF2-40B4-BE49-F238E27FC236}">
                <a16:creationId xmlns:a16="http://schemas.microsoft.com/office/drawing/2014/main" id="{3BA77A56-066B-5E05-F725-66FDA912D74B}"/>
              </a:ext>
            </a:extLst>
          </p:cNvPr>
          <p:cNvSpPr/>
          <p:nvPr/>
        </p:nvSpPr>
        <p:spPr>
          <a:xfrm>
            <a:off x="4942479" y="1725800"/>
            <a:ext cx="2129871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17</a:t>
            </a:r>
          </a:p>
        </p:txBody>
      </p:sp>
      <p:sp>
        <p:nvSpPr>
          <p:cNvPr id="10" name="MIO_OBJECT1">
            <a:extLst>
              <a:ext uri="{FF2B5EF4-FFF2-40B4-BE49-F238E27FC236}">
                <a16:creationId xmlns:a16="http://schemas.microsoft.com/office/drawing/2014/main" id="{74D24198-188E-AFAA-0624-8D9386BB8B30}"/>
              </a:ext>
            </a:extLst>
          </p:cNvPr>
          <p:cNvSpPr/>
          <p:nvPr/>
        </p:nvSpPr>
        <p:spPr>
          <a:xfrm>
            <a:off x="2758998" y="1725800"/>
            <a:ext cx="2129870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15</a:t>
            </a:r>
          </a:p>
        </p:txBody>
      </p:sp>
      <p:sp>
        <p:nvSpPr>
          <p:cNvPr id="11" name="MIO_OBJECT1">
            <a:extLst>
              <a:ext uri="{FF2B5EF4-FFF2-40B4-BE49-F238E27FC236}">
                <a16:creationId xmlns:a16="http://schemas.microsoft.com/office/drawing/2014/main" id="{D58B1C4C-7410-52F6-2AE1-C1A32BD3E331}"/>
              </a:ext>
            </a:extLst>
          </p:cNvPr>
          <p:cNvSpPr/>
          <p:nvPr/>
        </p:nvSpPr>
        <p:spPr>
          <a:xfrm>
            <a:off x="570098" y="1725800"/>
            <a:ext cx="2129870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09</a:t>
            </a:r>
          </a:p>
        </p:txBody>
      </p:sp>
    </p:spTree>
    <p:extLst>
      <p:ext uri="{BB962C8B-B14F-4D97-AF65-F5344CB8AC3E}">
        <p14:creationId xmlns:p14="http://schemas.microsoft.com/office/powerpoint/2010/main" val="417101254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50" grpId="0"/>
      <p:bldP spid="75" grpId="0"/>
      <p:bldP spid="30" grpId="0"/>
      <p:bldP spid="8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0" name="Objekt 159" hidden="1">
            <a:extLst>
              <a:ext uri="{FF2B5EF4-FFF2-40B4-BE49-F238E27FC236}">
                <a16:creationId xmlns:a16="http://schemas.microsoft.com/office/drawing/2014/main" id="{CEB5AE6F-EAA3-49EE-859C-A2594BDC1F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721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0" name="Objekt 159" hidden="1">
                        <a:extLst>
                          <a:ext uri="{FF2B5EF4-FFF2-40B4-BE49-F238E27FC236}">
                            <a16:creationId xmlns:a16="http://schemas.microsoft.com/office/drawing/2014/main" id="{CEB5AE6F-EAA3-49EE-859C-A2594BDC1F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9" name="Grafik 88">
            <a:extLst>
              <a:ext uri="{FF2B5EF4-FFF2-40B4-BE49-F238E27FC236}">
                <a16:creationId xmlns:a16="http://schemas.microsoft.com/office/drawing/2014/main" id="{71BDAE7B-F635-CFC5-5A48-0B1FF0F65041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2477902" y="2053207"/>
            <a:ext cx="648000" cy="1412308"/>
          </a:xfrm>
          <a:prstGeom prst="rect">
            <a:avLst/>
          </a:prstGeom>
        </p:spPr>
      </p:pic>
      <p:sp>
        <p:nvSpPr>
          <p:cNvPr id="190" name="Pfeil: nach links und oben 189">
            <a:extLst>
              <a:ext uri="{FF2B5EF4-FFF2-40B4-BE49-F238E27FC236}">
                <a16:creationId xmlns:a16="http://schemas.microsoft.com/office/drawing/2014/main" id="{FA717EC3-A8A9-4F53-8790-5A83DEA4C6FD}"/>
              </a:ext>
            </a:extLst>
          </p:cNvPr>
          <p:cNvSpPr/>
          <p:nvPr/>
        </p:nvSpPr>
        <p:spPr>
          <a:xfrm>
            <a:off x="6919409" y="3391784"/>
            <a:ext cx="3702184" cy="2486555"/>
          </a:xfrm>
          <a:prstGeom prst="leftUpArrow">
            <a:avLst>
              <a:gd name="adj1" fmla="val 14812"/>
              <a:gd name="adj2" fmla="val 15089"/>
              <a:gd name="adj3" fmla="val 16079"/>
            </a:avLst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62" name="Pfeil: nach rechts 161">
            <a:extLst>
              <a:ext uri="{FF2B5EF4-FFF2-40B4-BE49-F238E27FC236}">
                <a16:creationId xmlns:a16="http://schemas.microsoft.com/office/drawing/2014/main" id="{8030D285-078A-4025-BDC5-3640B519198A}"/>
              </a:ext>
            </a:extLst>
          </p:cNvPr>
          <p:cNvSpPr/>
          <p:nvPr/>
        </p:nvSpPr>
        <p:spPr>
          <a:xfrm>
            <a:off x="2667255" y="5116821"/>
            <a:ext cx="2657706" cy="684000"/>
          </a:xfrm>
          <a:prstGeom prst="rightArrow">
            <a:avLst/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534005-34DC-42E1-F682-FE16FADEBE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5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877143-71D9-9F7C-D870-481284EE62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35A7EC7-97BD-2CA4-197B-27B9D13CCE2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564122-7C24-4E05-A89C-FF1EB561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Industrie 4.0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093A34C-FFB4-92E3-06D8-B09121B9EB0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Werkstück als Informationsträger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5DA6D5DD-8BB7-41CE-8E21-68031A6EA105}"/>
              </a:ext>
            </a:extLst>
          </p:cNvPr>
          <p:cNvSpPr txBox="1"/>
          <p:nvPr/>
        </p:nvSpPr>
        <p:spPr>
          <a:xfrm>
            <a:off x="2906734" y="5247001"/>
            <a:ext cx="1611401" cy="36797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sz="1050" b="1" dirty="0"/>
              <a:t>Auftragsinformation</a:t>
            </a:r>
          </a:p>
        </p:txBody>
      </p:sp>
      <p:sp>
        <p:nvSpPr>
          <p:cNvPr id="158" name="Pfeil: nach rechts 157">
            <a:extLst>
              <a:ext uri="{FF2B5EF4-FFF2-40B4-BE49-F238E27FC236}">
                <a16:creationId xmlns:a16="http://schemas.microsoft.com/office/drawing/2014/main" id="{79789B14-85A9-4A75-8F18-BF292E474850}"/>
              </a:ext>
            </a:extLst>
          </p:cNvPr>
          <p:cNvSpPr/>
          <p:nvPr/>
        </p:nvSpPr>
        <p:spPr>
          <a:xfrm rot="5400000">
            <a:off x="5490786" y="3804388"/>
            <a:ext cx="1296000" cy="684000"/>
          </a:xfrm>
          <a:prstGeom prst="rightArrow">
            <a:avLst>
              <a:gd name="adj1" fmla="val 50000"/>
              <a:gd name="adj2" fmla="val 51904"/>
            </a:avLst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15B7919F-24FE-437C-B887-195A668FB897}"/>
              </a:ext>
            </a:extLst>
          </p:cNvPr>
          <p:cNvSpPr txBox="1"/>
          <p:nvPr/>
        </p:nvSpPr>
        <p:spPr>
          <a:xfrm>
            <a:off x="4899602" y="3641387"/>
            <a:ext cx="2526805" cy="60016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algn="ctr"/>
            <a:r>
              <a:rPr lang="de-DE" sz="1100" b="1" dirty="0"/>
              <a:t>Data Matrix Code scannen</a:t>
            </a:r>
          </a:p>
          <a:p>
            <a:pPr algn="ctr"/>
            <a:r>
              <a:rPr lang="de-DE" sz="1100" b="1" dirty="0"/>
              <a:t>&amp; Auftragsdaten mit dem </a:t>
            </a:r>
            <a:r>
              <a:rPr lang="de-DE" sz="1100" b="1" dirty="0" err="1"/>
              <a:t>Rohlingscode</a:t>
            </a:r>
            <a:r>
              <a:rPr lang="de-DE" sz="1100" b="1" dirty="0"/>
              <a:t> verknüpfen</a:t>
            </a:r>
          </a:p>
        </p:txBody>
      </p:sp>
      <p:sp>
        <p:nvSpPr>
          <p:cNvPr id="119" name="Textfeld 118">
            <a:extLst>
              <a:ext uri="{FF2B5EF4-FFF2-40B4-BE49-F238E27FC236}">
                <a16:creationId xmlns:a16="http://schemas.microsoft.com/office/drawing/2014/main" id="{C5E9F0F0-C7FF-4429-ADD5-EA6FC58908C4}"/>
              </a:ext>
            </a:extLst>
          </p:cNvPr>
          <p:cNvSpPr txBox="1"/>
          <p:nvPr/>
        </p:nvSpPr>
        <p:spPr>
          <a:xfrm>
            <a:off x="9025830" y="4249800"/>
            <a:ext cx="1995672" cy="76944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>
            <a:defPPr>
              <a:defRPr lang="de-DE"/>
            </a:defPPr>
            <a:lvl1pPr algn="ctr">
              <a:defRPr sz="1400" b="1"/>
            </a:lvl1pPr>
          </a:lstStyle>
          <a:p>
            <a:r>
              <a:rPr lang="de-DE" sz="1100" dirty="0"/>
              <a:t>Eindeutige Identifikation der Werkzeugkomponente in jedem Folgeprozess möglich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A8974DF-10EB-4B75-A459-F21C95D3E811}"/>
              </a:ext>
            </a:extLst>
          </p:cNvPr>
          <p:cNvGrpSpPr/>
          <p:nvPr/>
        </p:nvGrpSpPr>
        <p:grpSpPr>
          <a:xfrm>
            <a:off x="5130551" y="1560323"/>
            <a:ext cx="2016468" cy="376758"/>
            <a:chOff x="2671141" y="1666363"/>
            <a:chExt cx="2016468" cy="376758"/>
          </a:xfrm>
        </p:grpSpPr>
        <p:sp>
          <p:nvSpPr>
            <p:cNvPr id="84" name="Inhaltsplatzhalter 16">
              <a:extLst>
                <a:ext uri="{FF2B5EF4-FFF2-40B4-BE49-F238E27FC236}">
                  <a16:creationId xmlns:a16="http://schemas.microsoft.com/office/drawing/2014/main" id="{DF4E5A7F-6F68-4FFC-B130-044EAF774BA3}"/>
                </a:ext>
              </a:extLst>
            </p:cNvPr>
            <p:cNvSpPr txBox="1">
              <a:spLocks/>
            </p:cNvSpPr>
            <p:nvPr/>
          </p:nvSpPr>
          <p:spPr>
            <a:xfrm>
              <a:off x="2671141" y="1666363"/>
              <a:ext cx="2016468" cy="376758"/>
            </a:xfrm>
            <a:prstGeom prst="rect">
              <a:avLst/>
            </a:prstGeom>
          </p:spPr>
          <p:txBody>
            <a:bodyPr vert="horz" lIns="36000" tIns="72000" rIns="36000" bIns="72000" rtlCol="0" anchor="b" anchorCtr="0">
              <a:no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pPr algn="ctr"/>
              <a:r>
                <a:rPr lang="de-DE" dirty="0"/>
                <a:t>Kundenspezifischer Fertigungsprozess</a:t>
              </a:r>
            </a:p>
          </p:txBody>
        </p:sp>
        <p:cxnSp>
          <p:nvCxnSpPr>
            <p:cNvPr id="85" name="Gerade Verbindung 6">
              <a:extLst>
                <a:ext uri="{FF2B5EF4-FFF2-40B4-BE49-F238E27FC236}">
                  <a16:creationId xmlns:a16="http://schemas.microsoft.com/office/drawing/2014/main" id="{33477A13-AAE5-432B-867F-D0A4B57AE472}"/>
                </a:ext>
              </a:extLst>
            </p:cNvPr>
            <p:cNvCxnSpPr>
              <a:cxnSpLocks/>
            </p:cNvCxnSpPr>
            <p:nvPr/>
          </p:nvCxnSpPr>
          <p:spPr>
            <a:xfrm>
              <a:off x="2671141" y="2043121"/>
              <a:ext cx="2016468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Pfeil nach rechts 54">
            <a:extLst>
              <a:ext uri="{FF2B5EF4-FFF2-40B4-BE49-F238E27FC236}">
                <a16:creationId xmlns:a16="http://schemas.microsoft.com/office/drawing/2014/main" id="{A36A0E65-383A-49D2-857A-3244BA067202}"/>
              </a:ext>
            </a:extLst>
          </p:cNvPr>
          <p:cNvSpPr/>
          <p:nvPr/>
        </p:nvSpPr>
        <p:spPr>
          <a:xfrm>
            <a:off x="5976892" y="2377579"/>
            <a:ext cx="323789" cy="320095"/>
          </a:xfrm>
          <a:prstGeom prst="rightArrow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7A3607A2-E7F3-4BB1-97EF-74653B2C9A5E}"/>
              </a:ext>
            </a:extLst>
          </p:cNvPr>
          <p:cNvGrpSpPr/>
          <p:nvPr/>
        </p:nvGrpSpPr>
        <p:grpSpPr>
          <a:xfrm>
            <a:off x="9164435" y="1560323"/>
            <a:ext cx="2181589" cy="376758"/>
            <a:chOff x="9164435" y="1712722"/>
            <a:chExt cx="1882185" cy="376758"/>
          </a:xfrm>
        </p:grpSpPr>
        <p:sp>
          <p:nvSpPr>
            <p:cNvPr id="120" name="Inhaltsplatzhalter 16">
              <a:extLst>
                <a:ext uri="{FF2B5EF4-FFF2-40B4-BE49-F238E27FC236}">
                  <a16:creationId xmlns:a16="http://schemas.microsoft.com/office/drawing/2014/main" id="{1D2F6011-C453-47D0-87D8-81F99A13A90B}"/>
                </a:ext>
              </a:extLst>
            </p:cNvPr>
            <p:cNvSpPr txBox="1">
              <a:spLocks/>
            </p:cNvSpPr>
            <p:nvPr/>
          </p:nvSpPr>
          <p:spPr>
            <a:xfrm>
              <a:off x="9190653" y="1712722"/>
              <a:ext cx="1855967" cy="349342"/>
            </a:xfrm>
            <a:prstGeom prst="rect">
              <a:avLst/>
            </a:prstGeom>
          </p:spPr>
          <p:txBody>
            <a:bodyPr vert="horz" lIns="36000" tIns="72000" rIns="36000" bIns="72000" rtlCol="0" anchor="b" anchorCtr="0">
              <a:no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pPr algn="ctr"/>
              <a:r>
                <a:rPr lang="de-DE" dirty="0"/>
                <a:t>Werkstück als Informationsträger</a:t>
              </a:r>
            </a:p>
          </p:txBody>
        </p:sp>
        <p:cxnSp>
          <p:nvCxnSpPr>
            <p:cNvPr id="125" name="Gerade Verbindung 6">
              <a:extLst>
                <a:ext uri="{FF2B5EF4-FFF2-40B4-BE49-F238E27FC236}">
                  <a16:creationId xmlns:a16="http://schemas.microsoft.com/office/drawing/2014/main" id="{FCCE866E-C21D-4EF8-9E08-A8FA0744AD80}"/>
                </a:ext>
              </a:extLst>
            </p:cNvPr>
            <p:cNvCxnSpPr>
              <a:cxnSpLocks/>
            </p:cNvCxnSpPr>
            <p:nvPr/>
          </p:nvCxnSpPr>
          <p:spPr>
            <a:xfrm>
              <a:off x="9164435" y="2089480"/>
              <a:ext cx="1882185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9" name="Grafik 98" descr="SAP.png">
            <a:extLst>
              <a:ext uri="{FF2B5EF4-FFF2-40B4-BE49-F238E27FC236}">
                <a16:creationId xmlns:a16="http://schemas.microsoft.com/office/drawing/2014/main" id="{1A9CA223-FA47-486E-8D12-EE75CCBC46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16200000">
            <a:off x="1177191" y="5269584"/>
            <a:ext cx="764133" cy="378473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26EB3C5-E696-42D9-B64F-A51470590889}"/>
              </a:ext>
            </a:extLst>
          </p:cNvPr>
          <p:cNvGrpSpPr/>
          <p:nvPr/>
        </p:nvGrpSpPr>
        <p:grpSpPr>
          <a:xfrm>
            <a:off x="1079997" y="1560322"/>
            <a:ext cx="1751890" cy="376759"/>
            <a:chOff x="724194" y="1704901"/>
            <a:chExt cx="1751890" cy="376759"/>
          </a:xfrm>
        </p:grpSpPr>
        <p:sp>
          <p:nvSpPr>
            <p:cNvPr id="122" name="Inhaltsplatzhalter 16">
              <a:extLst>
                <a:ext uri="{FF2B5EF4-FFF2-40B4-BE49-F238E27FC236}">
                  <a16:creationId xmlns:a16="http://schemas.microsoft.com/office/drawing/2014/main" id="{710517F2-E228-48AA-9F47-F9CFEBA56FD3}"/>
                </a:ext>
              </a:extLst>
            </p:cNvPr>
            <p:cNvSpPr txBox="1">
              <a:spLocks/>
            </p:cNvSpPr>
            <p:nvPr/>
          </p:nvSpPr>
          <p:spPr>
            <a:xfrm>
              <a:off x="724194" y="1704901"/>
              <a:ext cx="1751890" cy="376758"/>
            </a:xfrm>
            <a:prstGeom prst="rect">
              <a:avLst/>
            </a:prstGeom>
          </p:spPr>
          <p:txBody>
            <a:bodyPr vert="horz" lIns="36000" tIns="72000" rIns="36000" bIns="72000" rtlCol="0" anchor="b" anchorCtr="0">
              <a:no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pPr algn="ctr"/>
              <a:r>
                <a:rPr lang="de-DE" dirty="0"/>
                <a:t>Vorserialisierung</a:t>
              </a:r>
            </a:p>
          </p:txBody>
        </p:sp>
        <p:cxnSp>
          <p:nvCxnSpPr>
            <p:cNvPr id="123" name="Gerade Verbindung 6">
              <a:extLst>
                <a:ext uri="{FF2B5EF4-FFF2-40B4-BE49-F238E27FC236}">
                  <a16:creationId xmlns:a16="http://schemas.microsoft.com/office/drawing/2014/main" id="{C7A980B5-1FB8-4696-B72D-2C4ED9C317A0}"/>
                </a:ext>
              </a:extLst>
            </p:cNvPr>
            <p:cNvCxnSpPr>
              <a:cxnSpLocks/>
            </p:cNvCxnSpPr>
            <p:nvPr/>
          </p:nvCxnSpPr>
          <p:spPr>
            <a:xfrm>
              <a:off x="724194" y="2081660"/>
              <a:ext cx="175189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Rechteck 75">
            <a:extLst>
              <a:ext uri="{FF2B5EF4-FFF2-40B4-BE49-F238E27FC236}">
                <a16:creationId xmlns:a16="http://schemas.microsoft.com/office/drawing/2014/main" id="{BAA968A9-BBA1-443D-8D9F-C3B449D4CE02}"/>
              </a:ext>
            </a:extLst>
          </p:cNvPr>
          <p:cNvSpPr/>
          <p:nvPr/>
        </p:nvSpPr>
        <p:spPr>
          <a:xfrm>
            <a:off x="515938" y="3494797"/>
            <a:ext cx="118254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dirty="0"/>
              <a:t>Neutraler Rohling</a:t>
            </a:r>
          </a:p>
        </p:txBody>
      </p:sp>
      <p:sp>
        <p:nvSpPr>
          <p:cNvPr id="78" name="Pfeil nach rechts 54">
            <a:extLst>
              <a:ext uri="{FF2B5EF4-FFF2-40B4-BE49-F238E27FC236}">
                <a16:creationId xmlns:a16="http://schemas.microsoft.com/office/drawing/2014/main" id="{52D1F5EF-DF0F-411A-BF55-FEA64843BA73}"/>
              </a:ext>
            </a:extLst>
          </p:cNvPr>
          <p:cNvSpPr/>
          <p:nvPr/>
        </p:nvSpPr>
        <p:spPr>
          <a:xfrm>
            <a:off x="1783325" y="2537626"/>
            <a:ext cx="323789" cy="320095"/>
          </a:xfrm>
          <a:prstGeom prst="rightArrow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3C6D689C-BEE1-4F14-AD64-C0CB86C101F3}"/>
              </a:ext>
            </a:extLst>
          </p:cNvPr>
          <p:cNvSpPr/>
          <p:nvPr/>
        </p:nvSpPr>
        <p:spPr>
          <a:xfrm>
            <a:off x="2213401" y="3494797"/>
            <a:ext cx="118254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dirty="0"/>
              <a:t>Beschriften</a:t>
            </a:r>
          </a:p>
        </p:txBody>
      </p:sp>
      <p:grpSp>
        <p:nvGrpSpPr>
          <p:cNvPr id="184" name="Gruppieren 183">
            <a:extLst>
              <a:ext uri="{FF2B5EF4-FFF2-40B4-BE49-F238E27FC236}">
                <a16:creationId xmlns:a16="http://schemas.microsoft.com/office/drawing/2014/main" id="{FE495053-0A41-401F-8604-C273D78A521D}"/>
              </a:ext>
            </a:extLst>
          </p:cNvPr>
          <p:cNvGrpSpPr/>
          <p:nvPr/>
        </p:nvGrpSpPr>
        <p:grpSpPr>
          <a:xfrm>
            <a:off x="1079995" y="4335490"/>
            <a:ext cx="1751890" cy="376759"/>
            <a:chOff x="724194" y="1704901"/>
            <a:chExt cx="1751890" cy="376759"/>
          </a:xfrm>
        </p:grpSpPr>
        <p:sp>
          <p:nvSpPr>
            <p:cNvPr id="185" name="Inhaltsplatzhalter 16">
              <a:extLst>
                <a:ext uri="{FF2B5EF4-FFF2-40B4-BE49-F238E27FC236}">
                  <a16:creationId xmlns:a16="http://schemas.microsoft.com/office/drawing/2014/main" id="{8E05DF33-5A80-4767-A9CF-B2DC3689626C}"/>
                </a:ext>
              </a:extLst>
            </p:cNvPr>
            <p:cNvSpPr txBox="1">
              <a:spLocks/>
            </p:cNvSpPr>
            <p:nvPr/>
          </p:nvSpPr>
          <p:spPr>
            <a:xfrm>
              <a:off x="724194" y="1704901"/>
              <a:ext cx="1751890" cy="376758"/>
            </a:xfrm>
            <a:prstGeom prst="rect">
              <a:avLst/>
            </a:prstGeom>
          </p:spPr>
          <p:txBody>
            <a:bodyPr vert="horz" lIns="36000" tIns="72000" rIns="36000" bIns="72000" rtlCol="0" anchor="b" anchorCtr="0">
              <a:no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pPr algn="ctr"/>
              <a:r>
                <a:rPr lang="de-DE" dirty="0"/>
                <a:t>Kundenauftrag</a:t>
              </a:r>
            </a:p>
          </p:txBody>
        </p:sp>
        <p:cxnSp>
          <p:nvCxnSpPr>
            <p:cNvPr id="186" name="Gerade Verbindung 6">
              <a:extLst>
                <a:ext uri="{FF2B5EF4-FFF2-40B4-BE49-F238E27FC236}">
                  <a16:creationId xmlns:a16="http://schemas.microsoft.com/office/drawing/2014/main" id="{A0849A64-DF68-4996-911B-98BA63EFEFE3}"/>
                </a:ext>
              </a:extLst>
            </p:cNvPr>
            <p:cNvCxnSpPr>
              <a:cxnSpLocks/>
            </p:cNvCxnSpPr>
            <p:nvPr/>
          </p:nvCxnSpPr>
          <p:spPr>
            <a:xfrm>
              <a:off x="724194" y="2081660"/>
              <a:ext cx="175189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1" name="Textfeld 200">
            <a:extLst>
              <a:ext uri="{FF2B5EF4-FFF2-40B4-BE49-F238E27FC236}">
                <a16:creationId xmlns:a16="http://schemas.microsoft.com/office/drawing/2014/main" id="{A7C1CF94-B683-43EB-A694-61623756A60D}"/>
              </a:ext>
            </a:extLst>
          </p:cNvPr>
          <p:cNvSpPr txBox="1"/>
          <p:nvPr/>
        </p:nvSpPr>
        <p:spPr>
          <a:xfrm>
            <a:off x="5564442" y="5162232"/>
            <a:ext cx="1139124" cy="794062"/>
          </a:xfrm>
          <a:prstGeom prst="rect">
            <a:avLst/>
          </a:prstGeom>
        </p:spPr>
        <p:txBody>
          <a:bodyPr vert="horz" wrap="square" lIns="108000" tIns="0" rIns="216000" bIns="0" rtlCol="0">
            <a:prstTxWarp prst="textCanDown">
              <a:avLst>
                <a:gd name="adj" fmla="val 11320"/>
              </a:avLst>
            </a:prstTxWarp>
            <a:spAutoFit/>
            <a:scene3d>
              <a:camera prst="orthographicFront">
                <a:rot lat="0" lon="21299999" rev="0"/>
              </a:camera>
              <a:lightRig rig="threePt" dir="t"/>
            </a:scene3d>
          </a:bodyPr>
          <a:lstStyle/>
          <a:p>
            <a:pPr algn="ctr">
              <a:lnSpc>
                <a:spcPct val="200000"/>
              </a:lnSpc>
            </a:pPr>
            <a:r>
              <a:rPr lang="de-DE" sz="1000" b="1" baseline="0" dirty="0">
                <a:solidFill>
                  <a:schemeClr val="lt1"/>
                </a:solidFill>
              </a:rPr>
              <a:t>TWS</a:t>
            </a:r>
          </a:p>
          <a:p>
            <a:pPr algn="ctr">
              <a:lnSpc>
                <a:spcPct val="200000"/>
              </a:lnSpc>
            </a:pPr>
            <a:r>
              <a:rPr lang="de-DE" sz="1000" b="1" dirty="0">
                <a:solidFill>
                  <a:schemeClr val="lt1"/>
                </a:solidFill>
              </a:rPr>
              <a:t>Industrie 4.0</a:t>
            </a:r>
          </a:p>
          <a:p>
            <a:pPr algn="ctr">
              <a:lnSpc>
                <a:spcPct val="200000"/>
              </a:lnSpc>
            </a:pPr>
            <a:r>
              <a:rPr lang="de-DE" sz="1000" b="1" baseline="0" dirty="0">
                <a:solidFill>
                  <a:schemeClr val="lt1"/>
                </a:solidFill>
              </a:rPr>
              <a:t>Portal</a:t>
            </a:r>
          </a:p>
        </p:txBody>
      </p:sp>
      <p:pic>
        <p:nvPicPr>
          <p:cNvPr id="14" name="Grafik 13" descr="Cloudcomputing Silhouette">
            <a:extLst>
              <a:ext uri="{FF2B5EF4-FFF2-40B4-BE49-F238E27FC236}">
                <a16:creationId xmlns:a16="http://schemas.microsoft.com/office/drawing/2014/main" id="{0D1904BA-4CEE-46D6-DBDF-6168F2FA9F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96267" y="4892082"/>
            <a:ext cx="1133476" cy="1133476"/>
          </a:xfrm>
          <a:prstGeom prst="rect">
            <a:avLst/>
          </a:prstGeom>
        </p:spPr>
      </p:pic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C241A9E6-1047-65E2-9FB5-0F6DCDD3B000}"/>
              </a:ext>
            </a:extLst>
          </p:cNvPr>
          <p:cNvGrpSpPr/>
          <p:nvPr/>
        </p:nvGrpSpPr>
        <p:grpSpPr>
          <a:xfrm>
            <a:off x="2506283" y="2053207"/>
            <a:ext cx="648000" cy="1412308"/>
            <a:chOff x="2506283" y="2205607"/>
            <a:chExt cx="648000" cy="1412308"/>
          </a:xfrm>
        </p:grpSpPr>
        <p:pic>
          <p:nvPicPr>
            <p:cNvPr id="91" name="Grafik 90">
              <a:extLst>
                <a:ext uri="{FF2B5EF4-FFF2-40B4-BE49-F238E27FC236}">
                  <a16:creationId xmlns:a16="http://schemas.microsoft.com/office/drawing/2014/main" id="{EADD0E48-42E3-B43C-FD5A-A10A8B117EE5}"/>
                </a:ext>
              </a:extLst>
            </p:cNvPr>
            <p:cNvPicPr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06283" y="2205607"/>
              <a:ext cx="648000" cy="1412308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DD54D60E-0A3B-6267-D5C1-66FEE9226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731863" y="2362178"/>
              <a:ext cx="196840" cy="105513"/>
            </a:xfrm>
            <a:prstGeom prst="rect">
              <a:avLst/>
            </a:prstGeom>
          </p:spPr>
        </p:pic>
      </p:grpSp>
      <p:pic>
        <p:nvPicPr>
          <p:cNvPr id="69" name="Grafik 68">
            <a:extLst>
              <a:ext uri="{FF2B5EF4-FFF2-40B4-BE49-F238E27FC236}">
                <a16:creationId xmlns:a16="http://schemas.microsoft.com/office/drawing/2014/main" id="{0B7B02B2-03AE-A659-117F-27A4B0958C7B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965627" y="2053207"/>
            <a:ext cx="648000" cy="1412308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FB0AAA1C-9CDC-C3AA-DC53-F3D8688348F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89515" y="2209778"/>
            <a:ext cx="196840" cy="105513"/>
          </a:xfrm>
          <a:prstGeom prst="rect">
            <a:avLst/>
          </a:prstGeom>
        </p:spPr>
      </p:pic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C64469DB-691E-A331-5EE2-8530161DE35E}"/>
              </a:ext>
            </a:extLst>
          </p:cNvPr>
          <p:cNvGrpSpPr/>
          <p:nvPr/>
        </p:nvGrpSpPr>
        <p:grpSpPr>
          <a:xfrm>
            <a:off x="6745430" y="2108776"/>
            <a:ext cx="648000" cy="1308497"/>
            <a:chOff x="6745430" y="2271318"/>
            <a:chExt cx="648000" cy="1308497"/>
          </a:xfrm>
        </p:grpSpPr>
        <p:pic>
          <p:nvPicPr>
            <p:cNvPr id="68" name="Grafik 67">
              <a:extLst>
                <a:ext uri="{FF2B5EF4-FFF2-40B4-BE49-F238E27FC236}">
                  <a16:creationId xmlns:a16="http://schemas.microsoft.com/office/drawing/2014/main" id="{8A33D3DD-5A71-5553-3230-3D3F6CB14765}"/>
                </a:ext>
              </a:extLst>
            </p:cNvPr>
            <p:cNvPicPr>
              <a:picLocks/>
            </p:cNvPicPr>
            <p:nvPr/>
          </p:nvPicPr>
          <p:blipFill>
            <a:blip r:embed="rId11"/>
            <a:stretch>
              <a:fillRect/>
            </a:stretch>
          </p:blipFill>
          <p:spPr>
            <a:xfrm flipV="1">
              <a:off x="6745430" y="2271318"/>
              <a:ext cx="648000" cy="1308497"/>
            </a:xfrm>
            <a:prstGeom prst="rect">
              <a:avLst/>
            </a:prstGeom>
          </p:spPr>
        </p:pic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B79C32ED-0D6A-7388-90DA-8A4210CE8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980717" y="2362178"/>
              <a:ext cx="196840" cy="105513"/>
            </a:xfrm>
            <a:prstGeom prst="rect">
              <a:avLst/>
            </a:prstGeom>
          </p:spPr>
        </p:pic>
      </p:grpSp>
      <p:pic>
        <p:nvPicPr>
          <p:cNvPr id="88" name="Grafik 87" descr="Dokument Silhouette">
            <a:extLst>
              <a:ext uri="{FF2B5EF4-FFF2-40B4-BE49-F238E27FC236}">
                <a16:creationId xmlns:a16="http://schemas.microsoft.com/office/drawing/2014/main" id="{3148EA92-D7BC-90AA-D7FE-67CA1F18DD33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714178" y="5015057"/>
            <a:ext cx="914400" cy="914400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86B46355-4123-EA14-47F3-330D91454967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709557" y="2083721"/>
            <a:ext cx="648000" cy="1412308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F8F595C8-B9B4-5144-A80C-4292051E2F07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737938" y="2053207"/>
            <a:ext cx="648000" cy="1412308"/>
          </a:xfrm>
          <a:prstGeom prst="rect">
            <a:avLst/>
          </a:prstGeom>
        </p:spPr>
      </p:pic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63888615-6D5A-D2E2-CF81-9E9C2DE4C325}"/>
              </a:ext>
            </a:extLst>
          </p:cNvPr>
          <p:cNvGrpSpPr/>
          <p:nvPr/>
        </p:nvGrpSpPr>
        <p:grpSpPr>
          <a:xfrm>
            <a:off x="10297593" y="2010185"/>
            <a:ext cx="648000" cy="1308497"/>
            <a:chOff x="6745430" y="2271318"/>
            <a:chExt cx="648000" cy="1308497"/>
          </a:xfrm>
        </p:grpSpPr>
        <p:pic>
          <p:nvPicPr>
            <p:cNvPr id="103" name="Grafik 102">
              <a:extLst>
                <a:ext uri="{FF2B5EF4-FFF2-40B4-BE49-F238E27FC236}">
                  <a16:creationId xmlns:a16="http://schemas.microsoft.com/office/drawing/2014/main" id="{70FC4AF6-5417-4E6D-9673-4C87CEB164C8}"/>
                </a:ext>
              </a:extLst>
            </p:cNvPr>
            <p:cNvPicPr>
              <a:picLocks/>
            </p:cNvPicPr>
            <p:nvPr/>
          </p:nvPicPr>
          <p:blipFill>
            <a:blip r:embed="rId11"/>
            <a:stretch>
              <a:fillRect/>
            </a:stretch>
          </p:blipFill>
          <p:spPr>
            <a:xfrm flipV="1">
              <a:off x="6745430" y="2271318"/>
              <a:ext cx="648000" cy="1308497"/>
            </a:xfrm>
            <a:prstGeom prst="rect">
              <a:avLst/>
            </a:prstGeom>
          </p:spPr>
        </p:pic>
        <p:pic>
          <p:nvPicPr>
            <p:cNvPr id="104" name="Grafik 103">
              <a:extLst>
                <a:ext uri="{FF2B5EF4-FFF2-40B4-BE49-F238E27FC236}">
                  <a16:creationId xmlns:a16="http://schemas.microsoft.com/office/drawing/2014/main" id="{94E43B89-FB92-D1BA-998F-A1E4C68F4C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980717" y="2362178"/>
              <a:ext cx="196840" cy="105513"/>
            </a:xfrm>
            <a:prstGeom prst="rect">
              <a:avLst/>
            </a:prstGeom>
          </p:spPr>
        </p:pic>
      </p:grpSp>
      <p:pic>
        <p:nvPicPr>
          <p:cNvPr id="112" name="Grafik 111">
            <a:extLst>
              <a:ext uri="{FF2B5EF4-FFF2-40B4-BE49-F238E27FC236}">
                <a16:creationId xmlns:a16="http://schemas.microsoft.com/office/drawing/2014/main" id="{974C870F-CEAD-B201-C693-E43CB7138C0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flipH="1">
            <a:off x="9278805" y="2172816"/>
            <a:ext cx="822613" cy="822613"/>
          </a:xfrm>
          <a:prstGeom prst="rect">
            <a:avLst/>
          </a:prstGeom>
        </p:spPr>
      </p:pic>
      <p:sp>
        <p:nvSpPr>
          <p:cNvPr id="117" name="Rechteck 116">
            <a:extLst>
              <a:ext uri="{FF2B5EF4-FFF2-40B4-BE49-F238E27FC236}">
                <a16:creationId xmlns:a16="http://schemas.microsoft.com/office/drawing/2014/main" id="{ECD5799F-F0D2-AE93-D254-65EF038E065D}"/>
              </a:ext>
            </a:extLst>
          </p:cNvPr>
          <p:cNvSpPr/>
          <p:nvPr/>
        </p:nvSpPr>
        <p:spPr>
          <a:xfrm>
            <a:off x="5298757" y="5998277"/>
            <a:ext cx="1594362" cy="270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>
                <a:solidFill>
                  <a:schemeClr val="dk1"/>
                </a:solidFill>
              </a:rPr>
              <a:t>Industrie 4.0 Portal</a:t>
            </a:r>
          </a:p>
        </p:txBody>
      </p:sp>
    </p:spTree>
    <p:extLst>
      <p:ext uri="{BB962C8B-B14F-4D97-AF65-F5344CB8AC3E}">
        <p14:creationId xmlns:p14="http://schemas.microsoft.com/office/powerpoint/2010/main" val="56446242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" grpId="0" animBg="1"/>
      <p:bldP spid="162" grpId="0" animBg="1"/>
      <p:bldP spid="124" grpId="0"/>
      <p:bldP spid="158" grpId="0" animBg="1"/>
      <p:bldP spid="159" grpId="0"/>
      <p:bldP spid="119" grpId="0"/>
      <p:bldP spid="97" grpId="0" animBg="1"/>
      <p:bldP spid="201" grpId="0"/>
      <p:bldP spid="1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019CC40-1FE3-0BB6-5C5C-9C655AD51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352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019CC40-1FE3-0BB6-5C5C-9C655AD51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118756-61B8-9F3B-32FF-40330AD220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6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D8E3941-CEBA-04F2-D718-6D21DE8C74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69F2297-9296-E79C-9205-D862742F39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83076B2-99C8-49A0-8F39-42B899B48F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Industrie 4.0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F12CA7-B763-48C8-4BAC-BAE480DDD1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ntwicklung im Werk Gerlingen</a:t>
            </a:r>
          </a:p>
        </p:txBody>
      </p:sp>
      <p:pic>
        <p:nvPicPr>
          <p:cNvPr id="35" name="Picture 7">
            <a:extLst>
              <a:ext uri="{FF2B5EF4-FFF2-40B4-BE49-F238E27FC236}">
                <a16:creationId xmlns:a16="http://schemas.microsoft.com/office/drawing/2014/main" id="{DD60EB35-9BB9-45DD-8BF4-0BF6AA36B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669491" y="3555029"/>
            <a:ext cx="426248" cy="11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Rechteck 36">
            <a:extLst>
              <a:ext uri="{FF2B5EF4-FFF2-40B4-BE49-F238E27FC236}">
                <a16:creationId xmlns:a16="http://schemas.microsoft.com/office/drawing/2014/main" id="{383A71AC-BB60-4F27-974A-12F2EF56123B}"/>
              </a:ext>
            </a:extLst>
          </p:cNvPr>
          <p:cNvSpPr/>
          <p:nvPr/>
        </p:nvSpPr>
        <p:spPr>
          <a:xfrm>
            <a:off x="515939" y="5140070"/>
            <a:ext cx="2144499" cy="3860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57835">
              <a:lnSpc>
                <a:spcPts val="2200"/>
              </a:lnSpc>
            </a:pPr>
            <a:r>
              <a:rPr lang="de-DE" sz="1000" i="1" dirty="0">
                <a:solidFill>
                  <a:schemeClr val="dk1"/>
                </a:solidFill>
              </a:rPr>
              <a:t>Der Kunde startet die Maschin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4900D07-B183-415B-8C9F-9D663FD11449}"/>
              </a:ext>
            </a:extLst>
          </p:cNvPr>
          <p:cNvGrpSpPr/>
          <p:nvPr/>
        </p:nvGrpSpPr>
        <p:grpSpPr>
          <a:xfrm>
            <a:off x="515939" y="4502220"/>
            <a:ext cx="2144498" cy="637849"/>
            <a:chOff x="515939" y="3752166"/>
            <a:chExt cx="2144474" cy="717164"/>
          </a:xfrm>
        </p:grpSpPr>
        <p:cxnSp>
          <p:nvCxnSpPr>
            <p:cNvPr id="38" name="Gerade Verbindung 6">
              <a:extLst>
                <a:ext uri="{FF2B5EF4-FFF2-40B4-BE49-F238E27FC236}">
                  <a16:creationId xmlns:a16="http://schemas.microsoft.com/office/drawing/2014/main" id="{752F9CE5-C7F2-46EE-8262-0A9C453A8662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9" y="4469330"/>
              <a:ext cx="198720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Inhaltsplatzhalter 16">
              <a:extLst>
                <a:ext uri="{FF2B5EF4-FFF2-40B4-BE49-F238E27FC236}">
                  <a16:creationId xmlns:a16="http://schemas.microsoft.com/office/drawing/2014/main" id="{721B32BD-CF2F-4366-BBC1-8485F794D9CC}"/>
                </a:ext>
              </a:extLst>
            </p:cNvPr>
            <p:cNvSpPr txBox="1">
              <a:spLocks/>
            </p:cNvSpPr>
            <p:nvPr/>
          </p:nvSpPr>
          <p:spPr>
            <a:xfrm>
              <a:off x="515939" y="3752166"/>
              <a:ext cx="2144474" cy="717164"/>
            </a:xfrm>
            <a:prstGeom prst="rect">
              <a:avLst/>
            </a:prstGeom>
            <a:ln>
              <a:noFill/>
            </a:ln>
            <a:effectLst/>
          </p:spPr>
          <p:txBody>
            <a:bodyPr vert="horz" wrap="square" lIns="0" tIns="72000" rIns="0" bIns="72000" rtlCol="0" anchor="b" anchorCtr="0">
              <a:sp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r>
                <a:rPr lang="de-DE" dirty="0"/>
                <a:t>Automatische Auftragsabwicklung</a:t>
              </a:r>
            </a:p>
          </p:txBody>
        </p:sp>
      </p:grpSp>
      <p:sp>
        <p:nvSpPr>
          <p:cNvPr id="48" name="Textfeld 47">
            <a:extLst>
              <a:ext uri="{FF2B5EF4-FFF2-40B4-BE49-F238E27FC236}">
                <a16:creationId xmlns:a16="http://schemas.microsoft.com/office/drawing/2014/main" id="{824CA2A5-3CDE-4BFB-BE42-7943336893D4}"/>
              </a:ext>
            </a:extLst>
          </p:cNvPr>
          <p:cNvSpPr txBox="1"/>
          <p:nvPr/>
        </p:nvSpPr>
        <p:spPr>
          <a:xfrm>
            <a:off x="2847591" y="4730240"/>
            <a:ext cx="2282895" cy="25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ts val="2200"/>
              </a:lnSpc>
            </a:pPr>
            <a:endParaRPr lang="de-DE" sz="1000" b="1" i="1" dirty="0">
              <a:solidFill>
                <a:schemeClr val="dk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77D819D9-9ACA-43B9-9E35-63FEDEDBD01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835237" y="4704132"/>
            <a:ext cx="2282920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 defTabSz="957835">
              <a:lnSpc>
                <a:spcPts val="2200"/>
              </a:lnSpc>
              <a:buNone/>
            </a:pPr>
            <a:r>
              <a:rPr lang="de-DE" sz="1000" i="1" dirty="0">
                <a:solidFill>
                  <a:schemeClr val="dk1"/>
                </a:solidFill>
              </a:rPr>
              <a:t>Werkstück als Informationsträger</a:t>
            </a:r>
          </a:p>
        </p:txBody>
      </p:sp>
      <p:cxnSp>
        <p:nvCxnSpPr>
          <p:cNvPr id="77" name="Gerade Verbindung 6">
            <a:extLst>
              <a:ext uri="{FF2B5EF4-FFF2-40B4-BE49-F238E27FC236}">
                <a16:creationId xmlns:a16="http://schemas.microsoft.com/office/drawing/2014/main" id="{4FEAE43D-A276-41C7-AB7D-3554192E7DBB}"/>
              </a:ext>
            </a:extLst>
          </p:cNvPr>
          <p:cNvCxnSpPr>
            <a:cxnSpLocks/>
          </p:cNvCxnSpPr>
          <p:nvPr/>
        </p:nvCxnSpPr>
        <p:spPr>
          <a:xfrm>
            <a:off x="2957521" y="4704132"/>
            <a:ext cx="3570346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Inhaltsplatzhalter 16">
            <a:extLst>
              <a:ext uri="{FF2B5EF4-FFF2-40B4-BE49-F238E27FC236}">
                <a16:creationId xmlns:a16="http://schemas.microsoft.com/office/drawing/2014/main" id="{86E4ABC5-D012-4113-86CA-45BAE3E7E9AA}"/>
              </a:ext>
            </a:extLst>
          </p:cNvPr>
          <p:cNvSpPr txBox="1">
            <a:spLocks/>
          </p:cNvSpPr>
          <p:nvPr/>
        </p:nvSpPr>
        <p:spPr>
          <a:xfrm>
            <a:off x="2835237" y="4137402"/>
            <a:ext cx="4382536" cy="566727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>
                <a:cs typeface="Arial" panose="020B0604020202020204" pitchFamily="34" charset="0"/>
              </a:defRPr>
            </a:lvl2pPr>
            <a:lvl3pPr marL="21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3pPr>
            <a:lvl4pPr marL="43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4pPr>
            <a:lvl5pPr marL="648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5pPr>
            <a:lvl6pPr marL="864000" indent="-216000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dirty="0">
                <a:cs typeface="Arial" panose="020B0604020202020204" pitchFamily="34" charset="0"/>
              </a:defRPr>
            </a:lvl6pPr>
            <a:lvl7pPr marL="1080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7pPr>
            <a:lvl8pPr marL="129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8pPr>
            <a:lvl9pPr marL="151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aseline="0"/>
            </a:lvl9pPr>
          </a:lstStyle>
          <a:p>
            <a:r>
              <a:rPr lang="de-DE" dirty="0"/>
              <a:t>Vernetzte Produktion: Ausbaustufe 1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B721ECF-3C7B-491B-8B3E-9F3D81B1069A}"/>
              </a:ext>
            </a:extLst>
          </p:cNvPr>
          <p:cNvSpPr/>
          <p:nvPr/>
        </p:nvSpPr>
        <p:spPr>
          <a:xfrm>
            <a:off x="5053834" y="4704132"/>
            <a:ext cx="2063543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57835">
              <a:lnSpc>
                <a:spcPts val="2200"/>
              </a:lnSpc>
            </a:pPr>
            <a:r>
              <a:rPr lang="de-DE" sz="1000" i="1" dirty="0">
                <a:solidFill>
                  <a:schemeClr val="dk1"/>
                </a:solidFill>
              </a:rPr>
              <a:t>Nachbestellung per Foto</a:t>
            </a:r>
            <a:endParaRPr lang="de-DE" sz="1000" dirty="0">
              <a:solidFill>
                <a:schemeClr val="dk1"/>
              </a:solidFill>
            </a:endParaRPr>
          </a:p>
        </p:txBody>
      </p:sp>
      <p:pic>
        <p:nvPicPr>
          <p:cNvPr id="36" name="Picture 7">
            <a:extLst>
              <a:ext uri="{FF2B5EF4-FFF2-40B4-BE49-F238E27FC236}">
                <a16:creationId xmlns:a16="http://schemas.microsoft.com/office/drawing/2014/main" id="{D62DAAFC-2903-4D94-9DC7-200771D7C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125240" y="3135019"/>
            <a:ext cx="411820" cy="119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hteck 48">
            <a:extLst>
              <a:ext uri="{FF2B5EF4-FFF2-40B4-BE49-F238E27FC236}">
                <a16:creationId xmlns:a16="http://schemas.microsoft.com/office/drawing/2014/main" id="{DCDE3585-53B9-400F-A6E6-6D3051B8FE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027327" y="4245772"/>
            <a:ext cx="2412027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 defTabSz="957835">
              <a:lnSpc>
                <a:spcPts val="2200"/>
              </a:lnSpc>
              <a:buNone/>
            </a:pPr>
            <a:r>
              <a:rPr lang="de-DE" sz="1000" i="1" dirty="0">
                <a:solidFill>
                  <a:schemeClr val="dk1"/>
                </a:solidFill>
              </a:rPr>
              <a:t>Produktion, Beschriftung und Zuordnung auf einer Anlage</a:t>
            </a:r>
            <a:endParaRPr lang="de-DE" sz="1000" dirty="0">
              <a:solidFill>
                <a:schemeClr val="dk1"/>
              </a:solidFill>
            </a:endParaRPr>
          </a:p>
          <a:p>
            <a:pPr lvl="0" defTabSz="957835">
              <a:lnSpc>
                <a:spcPts val="2200"/>
              </a:lnSpc>
              <a:buNone/>
            </a:pPr>
            <a:endParaRPr lang="de-DE" sz="1000" dirty="0">
              <a:solidFill>
                <a:schemeClr val="dk1"/>
              </a:solidFill>
            </a:endParaRPr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319DBD7E-51CE-4C66-A921-8DDF65363565}"/>
              </a:ext>
            </a:extLst>
          </p:cNvPr>
          <p:cNvGrpSpPr/>
          <p:nvPr/>
        </p:nvGrpSpPr>
        <p:grpSpPr>
          <a:xfrm>
            <a:off x="7027327" y="3607921"/>
            <a:ext cx="2114633" cy="637849"/>
            <a:chOff x="515939" y="3752167"/>
            <a:chExt cx="2114609" cy="717164"/>
          </a:xfrm>
        </p:grpSpPr>
        <p:cxnSp>
          <p:nvCxnSpPr>
            <p:cNvPr id="71" name="Gerade Verbindung 6">
              <a:extLst>
                <a:ext uri="{FF2B5EF4-FFF2-40B4-BE49-F238E27FC236}">
                  <a16:creationId xmlns:a16="http://schemas.microsoft.com/office/drawing/2014/main" id="{C4D49286-E860-4181-9B8A-EFC190750B04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9" y="4469330"/>
              <a:ext cx="198720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Inhaltsplatzhalter 16">
              <a:extLst>
                <a:ext uri="{FF2B5EF4-FFF2-40B4-BE49-F238E27FC236}">
                  <a16:creationId xmlns:a16="http://schemas.microsoft.com/office/drawing/2014/main" id="{0BF01852-F4AA-4E4E-82E2-F189C8308B6E}"/>
                </a:ext>
              </a:extLst>
            </p:cNvPr>
            <p:cNvSpPr txBox="1">
              <a:spLocks/>
            </p:cNvSpPr>
            <p:nvPr/>
          </p:nvSpPr>
          <p:spPr>
            <a:xfrm>
              <a:off x="515939" y="3752167"/>
              <a:ext cx="2114609" cy="717164"/>
            </a:xfrm>
            <a:prstGeom prst="rect">
              <a:avLst/>
            </a:prstGeom>
            <a:ln>
              <a:noFill/>
            </a:ln>
            <a:effectLst/>
          </p:spPr>
          <p:txBody>
            <a:bodyPr vert="horz" wrap="square" lIns="0" tIns="72000" rIns="0" bIns="72000" rtlCol="0" anchor="b" anchorCtr="0">
              <a:sp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r>
                <a:rPr lang="de-DE" dirty="0"/>
                <a:t>Vernetzte Produktion: Ausbaustufe 2</a:t>
              </a:r>
            </a:p>
          </p:txBody>
        </p:sp>
      </p:grpSp>
      <p:pic>
        <p:nvPicPr>
          <p:cNvPr id="21" name="Smart Factory - Komplett vernetzt - Completely networked">
            <a:extLst>
              <a:ext uri="{FF2B5EF4-FFF2-40B4-BE49-F238E27FC236}">
                <a16:creationId xmlns:a16="http://schemas.microsoft.com/office/drawing/2014/main" id="{CE5F9446-5776-D157-349A-C5FB7A4070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870" y="2741215"/>
            <a:ext cx="877542" cy="782905"/>
          </a:xfrm>
          <a:prstGeom prst="rect">
            <a:avLst/>
          </a:prstGeom>
        </p:spPr>
      </p:pic>
      <p:pic>
        <p:nvPicPr>
          <p:cNvPr id="25" name="Punching tool Scanner">
            <a:extLst>
              <a:ext uri="{FF2B5EF4-FFF2-40B4-BE49-F238E27FC236}">
                <a16:creationId xmlns:a16="http://schemas.microsoft.com/office/drawing/2014/main" id="{43266FE7-07B3-C1BB-894E-5E66127D0B1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77172" y="3424056"/>
            <a:ext cx="603540" cy="670600"/>
          </a:xfrm>
          <a:prstGeom prst="rect">
            <a:avLst/>
          </a:prstGeom>
        </p:spPr>
      </p:pic>
      <p:pic>
        <p:nvPicPr>
          <p:cNvPr id="26" name="E-Shop Punching Tools">
            <a:extLst>
              <a:ext uri="{FF2B5EF4-FFF2-40B4-BE49-F238E27FC236}">
                <a16:creationId xmlns:a16="http://schemas.microsoft.com/office/drawing/2014/main" id="{3D2C0374-021E-B508-6A33-BFBF293D161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2263" y="3788778"/>
            <a:ext cx="818037" cy="670601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151701C-BDB6-31CC-299D-27D87087040E}"/>
              </a:ext>
            </a:extLst>
          </p:cNvPr>
          <p:cNvGrpSpPr>
            <a:grpSpLocks noChangeAspect="1"/>
          </p:cNvGrpSpPr>
          <p:nvPr/>
        </p:nvGrpSpPr>
        <p:grpSpPr>
          <a:xfrm>
            <a:off x="3633323" y="3259899"/>
            <a:ext cx="426248" cy="929000"/>
            <a:chOff x="2506283" y="2205607"/>
            <a:chExt cx="648000" cy="1412308"/>
          </a:xfrm>
        </p:grpSpPr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D067FBC3-5402-282D-45D0-668A712B2E02}"/>
                </a:ext>
              </a:extLst>
            </p:cNvPr>
            <p:cNvPicPr>
              <a:picLocks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2506283" y="2205607"/>
              <a:ext cx="648000" cy="1412308"/>
            </a:xfrm>
            <a:prstGeom prst="rect">
              <a:avLst/>
            </a:prstGeom>
          </p:spPr>
        </p:pic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99CBA120-BC5B-6386-281C-F4EC4AB83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731863" y="2362178"/>
              <a:ext cx="196840" cy="105513"/>
            </a:xfrm>
            <a:prstGeom prst="rect">
              <a:avLst/>
            </a:prstGeom>
          </p:spPr>
        </p:pic>
      </p:grpSp>
      <p:sp>
        <p:nvSpPr>
          <p:cNvPr id="3" name="MIO_OBJECT1">
            <a:extLst>
              <a:ext uri="{FF2B5EF4-FFF2-40B4-BE49-F238E27FC236}">
                <a16:creationId xmlns:a16="http://schemas.microsoft.com/office/drawing/2014/main" id="{DD0BE66D-5702-631E-5E88-5A9F4DB43E30}"/>
              </a:ext>
            </a:extLst>
          </p:cNvPr>
          <p:cNvSpPr/>
          <p:nvPr/>
        </p:nvSpPr>
        <p:spPr>
          <a:xfrm>
            <a:off x="7145428" y="1725800"/>
            <a:ext cx="2100208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19</a:t>
            </a:r>
          </a:p>
        </p:txBody>
      </p:sp>
      <p:sp>
        <p:nvSpPr>
          <p:cNvPr id="9" name="MIO_OBJECT1">
            <a:extLst>
              <a:ext uri="{FF2B5EF4-FFF2-40B4-BE49-F238E27FC236}">
                <a16:creationId xmlns:a16="http://schemas.microsoft.com/office/drawing/2014/main" id="{7B959112-D6F5-489D-5FBF-8521BE0DC2AE}"/>
              </a:ext>
            </a:extLst>
          </p:cNvPr>
          <p:cNvSpPr/>
          <p:nvPr/>
        </p:nvSpPr>
        <p:spPr>
          <a:xfrm>
            <a:off x="4942479" y="1725800"/>
            <a:ext cx="2129871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17</a:t>
            </a:r>
          </a:p>
        </p:txBody>
      </p:sp>
      <p:sp>
        <p:nvSpPr>
          <p:cNvPr id="10" name="MIO_OBJECT1">
            <a:extLst>
              <a:ext uri="{FF2B5EF4-FFF2-40B4-BE49-F238E27FC236}">
                <a16:creationId xmlns:a16="http://schemas.microsoft.com/office/drawing/2014/main" id="{E281EC31-EE4E-C41C-A01C-BD2823BE746D}"/>
              </a:ext>
            </a:extLst>
          </p:cNvPr>
          <p:cNvSpPr/>
          <p:nvPr/>
        </p:nvSpPr>
        <p:spPr>
          <a:xfrm>
            <a:off x="2758998" y="1725800"/>
            <a:ext cx="2129870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15</a:t>
            </a:r>
          </a:p>
        </p:txBody>
      </p:sp>
      <p:sp>
        <p:nvSpPr>
          <p:cNvPr id="11" name="MIO_OBJECT1">
            <a:extLst>
              <a:ext uri="{FF2B5EF4-FFF2-40B4-BE49-F238E27FC236}">
                <a16:creationId xmlns:a16="http://schemas.microsoft.com/office/drawing/2014/main" id="{83216AE3-1E28-49C9-17A3-B2129F163DF9}"/>
              </a:ext>
            </a:extLst>
          </p:cNvPr>
          <p:cNvSpPr/>
          <p:nvPr/>
        </p:nvSpPr>
        <p:spPr>
          <a:xfrm>
            <a:off x="570098" y="1725800"/>
            <a:ext cx="2129870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09</a:t>
            </a:r>
          </a:p>
        </p:txBody>
      </p:sp>
    </p:spTree>
    <p:extLst>
      <p:ext uri="{BB962C8B-B14F-4D97-AF65-F5344CB8AC3E}">
        <p14:creationId xmlns:p14="http://schemas.microsoft.com/office/powerpoint/2010/main" val="3440386577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12F0601-C808-FAE1-968E-C7222DE10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1941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12F0601-C808-FAE1-968E-C7222DE1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Grafik 37">
            <a:extLst>
              <a:ext uri="{FF2B5EF4-FFF2-40B4-BE49-F238E27FC236}">
                <a16:creationId xmlns:a16="http://schemas.microsoft.com/office/drawing/2014/main" id="{24016D96-C451-70E9-63D5-D812D17C71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407" y="2090327"/>
            <a:ext cx="5290568" cy="37191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C9B9902-9D3E-070E-284C-9616DE7B0D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7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41558C-2DEB-9FA5-0898-A87F2D47F7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604191-7580-6D44-65AC-7D8F5B4CA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F591FE-778F-4B00-BDAD-D4EF15D17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Industrie 4.0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73FD900-27B5-9838-C7B2-FF56C91E6D9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Produktion, Beschriftung und Zuordnung auf einer Anlag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628817F-8C9F-19E6-4B34-B6C92924FD30}"/>
              </a:ext>
            </a:extLst>
          </p:cNvPr>
          <p:cNvSpPr txBox="1"/>
          <p:nvPr/>
        </p:nvSpPr>
        <p:spPr>
          <a:xfrm>
            <a:off x="691928" y="2304337"/>
            <a:ext cx="1812979" cy="23539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72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i="0" u="none" baseline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hleifmaschine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066548D4-4558-ED85-24C8-841F5558BBAF}"/>
              </a:ext>
            </a:extLst>
          </p:cNvPr>
          <p:cNvCxnSpPr>
            <a:cxnSpLocks/>
          </p:cNvCxnSpPr>
          <p:nvPr/>
        </p:nvCxnSpPr>
        <p:spPr>
          <a:xfrm flipH="1" flipV="1">
            <a:off x="1580815" y="2592561"/>
            <a:ext cx="388757" cy="322357"/>
          </a:xfrm>
          <a:prstGeom prst="line">
            <a:avLst/>
          </a:prstGeom>
          <a:noFill/>
          <a:ln w="15875" cap="flat" cmpd="sng" algn="ctr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02F7D492-C8A1-D118-65EA-E67CAEDFEB31}"/>
              </a:ext>
            </a:extLst>
          </p:cNvPr>
          <p:cNvSpPr txBox="1"/>
          <p:nvPr/>
        </p:nvSpPr>
        <p:spPr>
          <a:xfrm>
            <a:off x="3883936" y="2121619"/>
            <a:ext cx="1241903" cy="5436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72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i="0" u="none" baseline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ierter Beschrifter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A04C56A-FC6F-2127-C4F0-39BC1F59BE85}"/>
              </a:ext>
            </a:extLst>
          </p:cNvPr>
          <p:cNvCxnSpPr>
            <a:cxnSpLocks/>
            <a:endCxn id="17" idx="2"/>
          </p:cNvCxnSpPr>
          <p:nvPr/>
        </p:nvCxnSpPr>
        <p:spPr>
          <a:xfrm flipH="1" flipV="1">
            <a:off x="4504888" y="2665264"/>
            <a:ext cx="67112" cy="271822"/>
          </a:xfrm>
          <a:prstGeom prst="line">
            <a:avLst/>
          </a:prstGeom>
          <a:noFill/>
          <a:ln w="15875" cap="flat" cmpd="sng" algn="ctr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5D5417AD-FCE5-AAC9-89D7-C9112D4D6A98}"/>
              </a:ext>
            </a:extLst>
          </p:cNvPr>
          <p:cNvSpPr txBox="1"/>
          <p:nvPr/>
        </p:nvSpPr>
        <p:spPr>
          <a:xfrm>
            <a:off x="4895148" y="4733056"/>
            <a:ext cx="1092922" cy="62817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72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i="0" u="none" baseline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ger </a:t>
            </a:r>
          </a:p>
          <a:p>
            <a:pPr marL="72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i="0" u="none" baseline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empel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95076389-98FA-F04A-A72E-FCEFDCE87DC1}"/>
              </a:ext>
            </a:extLst>
          </p:cNvPr>
          <p:cNvSpPr txBox="1"/>
          <p:nvPr/>
        </p:nvSpPr>
        <p:spPr>
          <a:xfrm>
            <a:off x="958920" y="5047145"/>
            <a:ext cx="1438875" cy="32235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72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i="0" u="none" baseline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ger Multitool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14AE77D8-B59C-A1BE-2190-A4D8EF3AE10A}"/>
              </a:ext>
            </a:extLst>
          </p:cNvPr>
          <p:cNvCxnSpPr>
            <a:cxnSpLocks/>
          </p:cNvCxnSpPr>
          <p:nvPr/>
        </p:nvCxnSpPr>
        <p:spPr>
          <a:xfrm flipH="1">
            <a:off x="1692250" y="4490660"/>
            <a:ext cx="914401" cy="541684"/>
          </a:xfrm>
          <a:prstGeom prst="line">
            <a:avLst/>
          </a:prstGeom>
          <a:noFill/>
          <a:ln w="15875">
            <a:solidFill>
              <a:schemeClr val="bg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pic>
        <p:nvPicPr>
          <p:cNvPr id="31" name="Grafik 30">
            <a:extLst>
              <a:ext uri="{FF2B5EF4-FFF2-40B4-BE49-F238E27FC236}">
                <a16:creationId xmlns:a16="http://schemas.microsoft.com/office/drawing/2014/main" id="{8FC98A06-5FB6-81DC-CF0F-87DF18C693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7027" y="1770968"/>
            <a:ext cx="2681638" cy="19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86082F9C-FCA5-D670-515F-3EF79041F9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13533" y="3912790"/>
            <a:ext cx="3119547" cy="2304000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641BCA-3968-5179-1D2A-88815CE8A40E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4352925" y="3786880"/>
            <a:ext cx="542223" cy="1260265"/>
          </a:xfrm>
          <a:prstGeom prst="line">
            <a:avLst/>
          </a:prstGeom>
          <a:noFill/>
          <a:ln w="15875">
            <a:solidFill>
              <a:schemeClr val="bg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</p:spTree>
    <p:extLst>
      <p:ext uri="{BB962C8B-B14F-4D97-AF65-F5344CB8AC3E}">
        <p14:creationId xmlns:p14="http://schemas.microsoft.com/office/powerpoint/2010/main" val="1791943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86C3438-5863-BD08-01B4-0EA9A349AA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009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86C3438-5863-BD08-01B4-0EA9A349A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C6B3D3-0945-9BB8-838E-C68F8AC4AA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8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B10AC04-8BDA-D80D-C917-01C6D44343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B692C95-8C75-0B7E-6783-DEEECB79D2C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83076B2-99C8-49A0-8F39-42B899B48F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Industrie 4.0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6D0B519-DF8C-A822-A53B-8094FDB96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ntwicklung im Werk Gerlingen</a:t>
            </a:r>
          </a:p>
        </p:txBody>
      </p:sp>
      <p:pic>
        <p:nvPicPr>
          <p:cNvPr id="35" name="Picture 7">
            <a:extLst>
              <a:ext uri="{FF2B5EF4-FFF2-40B4-BE49-F238E27FC236}">
                <a16:creationId xmlns:a16="http://schemas.microsoft.com/office/drawing/2014/main" id="{DD60EB35-9BB9-45DD-8BF4-0BF6AA36B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660167" y="3555029"/>
            <a:ext cx="426248" cy="11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Rechteck 36">
            <a:extLst>
              <a:ext uri="{FF2B5EF4-FFF2-40B4-BE49-F238E27FC236}">
                <a16:creationId xmlns:a16="http://schemas.microsoft.com/office/drawing/2014/main" id="{383A71AC-BB60-4F27-974A-12F2EF56123B}"/>
              </a:ext>
            </a:extLst>
          </p:cNvPr>
          <p:cNvSpPr/>
          <p:nvPr/>
        </p:nvSpPr>
        <p:spPr>
          <a:xfrm>
            <a:off x="515939" y="5140070"/>
            <a:ext cx="2129873" cy="3860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57835">
              <a:lnSpc>
                <a:spcPts val="2200"/>
              </a:lnSpc>
            </a:pPr>
            <a:r>
              <a:rPr lang="de-DE" sz="1000" i="1" dirty="0">
                <a:solidFill>
                  <a:schemeClr val="dk1"/>
                </a:solidFill>
              </a:rPr>
              <a:t>Der Kunde startet die Maschin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4900D07-B183-415B-8C9F-9D663FD11449}"/>
              </a:ext>
            </a:extLst>
          </p:cNvPr>
          <p:cNvGrpSpPr/>
          <p:nvPr/>
        </p:nvGrpSpPr>
        <p:grpSpPr>
          <a:xfrm>
            <a:off x="515939" y="4502220"/>
            <a:ext cx="2129871" cy="637849"/>
            <a:chOff x="515939" y="3752166"/>
            <a:chExt cx="2144474" cy="717164"/>
          </a:xfrm>
        </p:grpSpPr>
        <p:cxnSp>
          <p:nvCxnSpPr>
            <p:cNvPr id="38" name="Gerade Verbindung 6">
              <a:extLst>
                <a:ext uri="{FF2B5EF4-FFF2-40B4-BE49-F238E27FC236}">
                  <a16:creationId xmlns:a16="http://schemas.microsoft.com/office/drawing/2014/main" id="{752F9CE5-C7F2-46EE-8262-0A9C453A8662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9" y="4469330"/>
              <a:ext cx="198720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Inhaltsplatzhalter 16">
              <a:extLst>
                <a:ext uri="{FF2B5EF4-FFF2-40B4-BE49-F238E27FC236}">
                  <a16:creationId xmlns:a16="http://schemas.microsoft.com/office/drawing/2014/main" id="{721B32BD-CF2F-4366-BBC1-8485F794D9CC}"/>
                </a:ext>
              </a:extLst>
            </p:cNvPr>
            <p:cNvSpPr txBox="1">
              <a:spLocks/>
            </p:cNvSpPr>
            <p:nvPr/>
          </p:nvSpPr>
          <p:spPr>
            <a:xfrm>
              <a:off x="515939" y="3752166"/>
              <a:ext cx="2144474" cy="717164"/>
            </a:xfrm>
            <a:prstGeom prst="rect">
              <a:avLst/>
            </a:prstGeom>
            <a:ln>
              <a:noFill/>
            </a:ln>
            <a:effectLst/>
          </p:spPr>
          <p:txBody>
            <a:bodyPr vert="horz" wrap="square" lIns="0" tIns="72000" rIns="0" bIns="72000" rtlCol="0" anchor="b" anchorCtr="0">
              <a:sp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r>
                <a:rPr lang="de-DE" dirty="0"/>
                <a:t>Automatische Auftragsabwicklung</a:t>
              </a:r>
            </a:p>
          </p:txBody>
        </p:sp>
      </p:grpSp>
      <p:sp>
        <p:nvSpPr>
          <p:cNvPr id="48" name="Textfeld 47">
            <a:extLst>
              <a:ext uri="{FF2B5EF4-FFF2-40B4-BE49-F238E27FC236}">
                <a16:creationId xmlns:a16="http://schemas.microsoft.com/office/drawing/2014/main" id="{824CA2A5-3CDE-4BFB-BE42-7943336893D4}"/>
              </a:ext>
            </a:extLst>
          </p:cNvPr>
          <p:cNvSpPr txBox="1"/>
          <p:nvPr/>
        </p:nvSpPr>
        <p:spPr>
          <a:xfrm>
            <a:off x="2847591" y="4730240"/>
            <a:ext cx="2282895" cy="25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ts val="2200"/>
              </a:lnSpc>
            </a:pPr>
            <a:endParaRPr lang="de-DE" sz="1000" b="1" i="1" dirty="0">
              <a:solidFill>
                <a:schemeClr val="dk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77D819D9-9ACA-43B9-9E35-63FEDEDBD01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819418" y="4704132"/>
            <a:ext cx="2267349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 defTabSz="957835">
              <a:lnSpc>
                <a:spcPts val="2200"/>
              </a:lnSpc>
              <a:buNone/>
            </a:pPr>
            <a:r>
              <a:rPr lang="de-DE" sz="1000" i="1" dirty="0">
                <a:solidFill>
                  <a:schemeClr val="dk1"/>
                </a:solidFill>
              </a:rPr>
              <a:t>Werkstück als Informationsträger</a:t>
            </a:r>
          </a:p>
        </p:txBody>
      </p:sp>
      <p:cxnSp>
        <p:nvCxnSpPr>
          <p:cNvPr id="77" name="Gerade Verbindung 6">
            <a:extLst>
              <a:ext uri="{FF2B5EF4-FFF2-40B4-BE49-F238E27FC236}">
                <a16:creationId xmlns:a16="http://schemas.microsoft.com/office/drawing/2014/main" id="{4FEAE43D-A276-41C7-AB7D-3554192E7DBB}"/>
              </a:ext>
            </a:extLst>
          </p:cNvPr>
          <p:cNvCxnSpPr>
            <a:cxnSpLocks/>
          </p:cNvCxnSpPr>
          <p:nvPr/>
        </p:nvCxnSpPr>
        <p:spPr>
          <a:xfrm>
            <a:off x="2940868" y="4704132"/>
            <a:ext cx="3545994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Inhaltsplatzhalter 16">
            <a:extLst>
              <a:ext uri="{FF2B5EF4-FFF2-40B4-BE49-F238E27FC236}">
                <a16:creationId xmlns:a16="http://schemas.microsoft.com/office/drawing/2014/main" id="{86E4ABC5-D012-4113-86CA-45BAE3E7E9AA}"/>
              </a:ext>
            </a:extLst>
          </p:cNvPr>
          <p:cNvSpPr txBox="1">
            <a:spLocks/>
          </p:cNvSpPr>
          <p:nvPr/>
        </p:nvSpPr>
        <p:spPr>
          <a:xfrm>
            <a:off x="2819418" y="4137402"/>
            <a:ext cx="4352643" cy="566727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>
                <a:cs typeface="Arial" panose="020B0604020202020204" pitchFamily="34" charset="0"/>
              </a:defRPr>
            </a:lvl2pPr>
            <a:lvl3pPr marL="21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3pPr>
            <a:lvl4pPr marL="43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4pPr>
            <a:lvl5pPr marL="648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b="0" i="0">
                <a:cs typeface="Arial" panose="020B0604020202020204" pitchFamily="34" charset="0"/>
              </a:defRPr>
            </a:lvl5pPr>
            <a:lvl6pPr marL="864000" indent="-216000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dirty="0">
                <a:cs typeface="Arial" panose="020B0604020202020204" pitchFamily="34" charset="0"/>
              </a:defRPr>
            </a:lvl6pPr>
            <a:lvl7pPr marL="1080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7pPr>
            <a:lvl8pPr marL="1296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8pPr>
            <a:lvl9pPr marL="1512000" indent="-216000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aseline="0"/>
            </a:lvl9pPr>
          </a:lstStyle>
          <a:p>
            <a:r>
              <a:rPr lang="de-DE" dirty="0"/>
              <a:t>Vernetzte Produktion: Ausbaustufe 1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B721ECF-3C7B-491B-8B3E-9F3D81B1069A}"/>
              </a:ext>
            </a:extLst>
          </p:cNvPr>
          <p:cNvSpPr/>
          <p:nvPr/>
        </p:nvSpPr>
        <p:spPr>
          <a:xfrm>
            <a:off x="5022882" y="4704132"/>
            <a:ext cx="2049468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57835">
              <a:lnSpc>
                <a:spcPts val="2200"/>
              </a:lnSpc>
            </a:pPr>
            <a:r>
              <a:rPr lang="de-DE" sz="1000" i="1" dirty="0">
                <a:solidFill>
                  <a:schemeClr val="dk1"/>
                </a:solidFill>
              </a:rPr>
              <a:t>Nachbestellung per Foto</a:t>
            </a:r>
            <a:endParaRPr lang="de-DE" sz="1000" dirty="0">
              <a:solidFill>
                <a:schemeClr val="dk1"/>
              </a:solidFill>
            </a:endParaRPr>
          </a:p>
        </p:txBody>
      </p:sp>
      <p:pic>
        <p:nvPicPr>
          <p:cNvPr id="36" name="Picture 7">
            <a:extLst>
              <a:ext uri="{FF2B5EF4-FFF2-40B4-BE49-F238E27FC236}">
                <a16:creationId xmlns:a16="http://schemas.microsoft.com/office/drawing/2014/main" id="{D62DAAFC-2903-4D94-9DC7-200771D7C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085576" y="3135019"/>
            <a:ext cx="411820" cy="119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hteck 48">
            <a:extLst>
              <a:ext uri="{FF2B5EF4-FFF2-40B4-BE49-F238E27FC236}">
                <a16:creationId xmlns:a16="http://schemas.microsoft.com/office/drawing/2014/main" id="{DCDE3585-53B9-400F-A6E6-6D3051B8FE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982913" y="4245772"/>
            <a:ext cx="2395576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 defTabSz="957835">
              <a:lnSpc>
                <a:spcPts val="2200"/>
              </a:lnSpc>
              <a:buNone/>
            </a:pPr>
            <a:r>
              <a:rPr lang="de-DE" sz="1000" i="1" dirty="0">
                <a:solidFill>
                  <a:schemeClr val="dk1"/>
                </a:solidFill>
              </a:rPr>
              <a:t>Produktion, Beschriftung und Zuordnung auf einer Anlage</a:t>
            </a:r>
            <a:endParaRPr lang="de-DE" sz="1000" dirty="0">
              <a:solidFill>
                <a:schemeClr val="dk1"/>
              </a:solidFill>
            </a:endParaRPr>
          </a:p>
          <a:p>
            <a:pPr lvl="0" defTabSz="957835">
              <a:lnSpc>
                <a:spcPts val="2200"/>
              </a:lnSpc>
              <a:buNone/>
            </a:pPr>
            <a:endParaRPr lang="de-DE" sz="1000" dirty="0">
              <a:solidFill>
                <a:schemeClr val="dk1"/>
              </a:solidFill>
            </a:endParaRPr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319DBD7E-51CE-4C66-A921-8DDF65363565}"/>
              </a:ext>
            </a:extLst>
          </p:cNvPr>
          <p:cNvGrpSpPr/>
          <p:nvPr/>
        </p:nvGrpSpPr>
        <p:grpSpPr>
          <a:xfrm>
            <a:off x="6982913" y="3607921"/>
            <a:ext cx="2100208" cy="637849"/>
            <a:chOff x="515939" y="3752167"/>
            <a:chExt cx="2114609" cy="717164"/>
          </a:xfrm>
        </p:grpSpPr>
        <p:cxnSp>
          <p:nvCxnSpPr>
            <p:cNvPr id="71" name="Gerade Verbindung 6">
              <a:extLst>
                <a:ext uri="{FF2B5EF4-FFF2-40B4-BE49-F238E27FC236}">
                  <a16:creationId xmlns:a16="http://schemas.microsoft.com/office/drawing/2014/main" id="{C4D49286-E860-4181-9B8A-EFC190750B04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9" y="4469330"/>
              <a:ext cx="198720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Inhaltsplatzhalter 16">
              <a:extLst>
                <a:ext uri="{FF2B5EF4-FFF2-40B4-BE49-F238E27FC236}">
                  <a16:creationId xmlns:a16="http://schemas.microsoft.com/office/drawing/2014/main" id="{0BF01852-F4AA-4E4E-82E2-F189C8308B6E}"/>
                </a:ext>
              </a:extLst>
            </p:cNvPr>
            <p:cNvSpPr txBox="1">
              <a:spLocks/>
            </p:cNvSpPr>
            <p:nvPr/>
          </p:nvSpPr>
          <p:spPr>
            <a:xfrm>
              <a:off x="515939" y="3752167"/>
              <a:ext cx="2114609" cy="717164"/>
            </a:xfrm>
            <a:prstGeom prst="rect">
              <a:avLst/>
            </a:prstGeom>
            <a:ln>
              <a:noFill/>
            </a:ln>
            <a:effectLst/>
          </p:spPr>
          <p:txBody>
            <a:bodyPr vert="horz" wrap="square" lIns="0" tIns="72000" rIns="0" bIns="72000" rtlCol="0" anchor="b" anchorCtr="0">
              <a:sp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r>
                <a:rPr lang="de-DE" dirty="0"/>
                <a:t>Vernetzte Produktion: Ausbaustufe 2</a:t>
              </a:r>
            </a:p>
          </p:txBody>
        </p:sp>
      </p:grpSp>
      <p:sp>
        <p:nvSpPr>
          <p:cNvPr id="53" name="MIO_OBJECT1">
            <a:extLst>
              <a:ext uri="{FF2B5EF4-FFF2-40B4-BE49-F238E27FC236}">
                <a16:creationId xmlns:a16="http://schemas.microsoft.com/office/drawing/2014/main" id="{E84F1484-ADCE-4551-88CB-CA141074ED40}"/>
              </a:ext>
            </a:extLst>
          </p:cNvPr>
          <p:cNvSpPr/>
          <p:nvPr/>
        </p:nvSpPr>
        <p:spPr>
          <a:xfrm>
            <a:off x="9296584" y="1641093"/>
            <a:ext cx="2313620" cy="494452"/>
          </a:xfrm>
          <a:prstGeom prst="chevron">
            <a:avLst>
              <a:gd name="adj" fmla="val 34086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Bis 2024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51AF0FC1-664A-4D6B-AB55-4A6B79A28B8D}"/>
              </a:ext>
            </a:extLst>
          </p:cNvPr>
          <p:cNvSpPr/>
          <p:nvPr/>
        </p:nvSpPr>
        <p:spPr>
          <a:xfrm>
            <a:off x="9296584" y="3944899"/>
            <a:ext cx="2165474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57835">
              <a:lnSpc>
                <a:spcPts val="2200"/>
              </a:lnSpc>
            </a:pPr>
            <a:endParaRPr lang="de-DE" sz="1000" dirty="0">
              <a:solidFill>
                <a:schemeClr val="dk1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5F89834-C6DD-460D-9F12-D66F74B1F6D0}"/>
              </a:ext>
            </a:extLst>
          </p:cNvPr>
          <p:cNvGrpSpPr/>
          <p:nvPr/>
        </p:nvGrpSpPr>
        <p:grpSpPr>
          <a:xfrm>
            <a:off x="9296584" y="3042179"/>
            <a:ext cx="1904616" cy="637849"/>
            <a:chOff x="9356788" y="2834473"/>
            <a:chExt cx="1917674" cy="717164"/>
          </a:xfrm>
        </p:grpSpPr>
        <p:cxnSp>
          <p:nvCxnSpPr>
            <p:cNvPr id="85" name="Gerade Verbindung 6">
              <a:extLst>
                <a:ext uri="{FF2B5EF4-FFF2-40B4-BE49-F238E27FC236}">
                  <a16:creationId xmlns:a16="http://schemas.microsoft.com/office/drawing/2014/main" id="{D70B2795-6AD7-47B0-B96B-91461012D032}"/>
                </a:ext>
              </a:extLst>
            </p:cNvPr>
            <p:cNvCxnSpPr>
              <a:cxnSpLocks/>
            </p:cNvCxnSpPr>
            <p:nvPr/>
          </p:nvCxnSpPr>
          <p:spPr>
            <a:xfrm>
              <a:off x="9356788" y="3551635"/>
              <a:ext cx="1917674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Inhaltsplatzhalter 16">
              <a:extLst>
                <a:ext uri="{FF2B5EF4-FFF2-40B4-BE49-F238E27FC236}">
                  <a16:creationId xmlns:a16="http://schemas.microsoft.com/office/drawing/2014/main" id="{46CAB518-9482-4C59-BE50-3C13FAA66C3B}"/>
                </a:ext>
              </a:extLst>
            </p:cNvPr>
            <p:cNvSpPr txBox="1">
              <a:spLocks/>
            </p:cNvSpPr>
            <p:nvPr/>
          </p:nvSpPr>
          <p:spPr>
            <a:xfrm>
              <a:off x="9356788" y="2834473"/>
              <a:ext cx="1917674" cy="717164"/>
            </a:xfrm>
            <a:prstGeom prst="rect">
              <a:avLst/>
            </a:prstGeom>
            <a:ln>
              <a:noFill/>
            </a:ln>
            <a:effectLst/>
          </p:spPr>
          <p:txBody>
            <a:bodyPr vert="horz" wrap="square" lIns="0" tIns="72000" rIns="0" bIns="72000" rtlCol="0" anchor="b" anchorCtr="0">
              <a:spAutoFit/>
            </a:bodyPr>
            <a:lstStyle>
              <a:lvl1pPr inden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>
                  <a:solidFill>
                    <a:schemeClr val="tx2"/>
                  </a:solidFill>
                  <a:cs typeface="Arial" panose="020B0604020202020204" pitchFamily="34" charset="0"/>
                </a:defRPr>
              </a:lvl1pPr>
              <a:lvl2pPr marL="0" inden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None/>
                <a:defRPr sz="1600" b="0" i="0">
                  <a:cs typeface="Arial" panose="020B0604020202020204" pitchFamily="34" charset="0"/>
                </a:defRPr>
              </a:lvl2pPr>
              <a:lvl3pPr marL="21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3pPr>
              <a:lvl4pPr marL="43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4pPr>
              <a:lvl5pPr marL="648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 b="0" i="0">
                  <a:cs typeface="Arial" panose="020B0604020202020204" pitchFamily="34" charset="0"/>
                </a:defRPr>
              </a:lvl5pPr>
              <a:lvl6pPr marL="864000" indent="-21600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Char char="§"/>
                <a:defRPr lang="de-DE" sz="1600" b="0" i="0" dirty="0">
                  <a:cs typeface="Arial" panose="020B0604020202020204" pitchFamily="34" charset="0"/>
                </a:defRPr>
              </a:lvl6pPr>
              <a:lvl7pPr marL="1080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7pPr>
              <a:lvl8pPr marL="1296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/>
              </a:lvl8pPr>
              <a:lvl9pPr marL="1512000" indent="-216000">
                <a:lnSpc>
                  <a:spcPct val="100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aseline="0"/>
              </a:lvl9pPr>
            </a:lstStyle>
            <a:p>
              <a:r>
                <a:rPr lang="de-DE" dirty="0"/>
                <a:t>Automatisierte Intralogistik</a:t>
              </a:r>
            </a:p>
          </p:txBody>
        </p:sp>
      </p:grpSp>
      <p:pic>
        <p:nvPicPr>
          <p:cNvPr id="21" name="Smart Factory - Komplett vernetzt - Completely networked">
            <a:extLst>
              <a:ext uri="{FF2B5EF4-FFF2-40B4-BE49-F238E27FC236}">
                <a16:creationId xmlns:a16="http://schemas.microsoft.com/office/drawing/2014/main" id="{CE5F9446-5776-D157-349A-C5FB7A4070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2601" y="2741215"/>
            <a:ext cx="877542" cy="782905"/>
          </a:xfrm>
          <a:prstGeom prst="rect">
            <a:avLst/>
          </a:prstGeom>
        </p:spPr>
      </p:pic>
      <p:pic>
        <p:nvPicPr>
          <p:cNvPr id="25" name="Punching tool Scanner">
            <a:extLst>
              <a:ext uri="{FF2B5EF4-FFF2-40B4-BE49-F238E27FC236}">
                <a16:creationId xmlns:a16="http://schemas.microsoft.com/office/drawing/2014/main" id="{43266FE7-07B3-C1BB-894E-5E66127D0B1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540594" y="3424056"/>
            <a:ext cx="603540" cy="670600"/>
          </a:xfrm>
          <a:prstGeom prst="rect">
            <a:avLst/>
          </a:prstGeom>
        </p:spPr>
      </p:pic>
      <p:pic>
        <p:nvPicPr>
          <p:cNvPr id="26" name="E-Shop Punching Tools">
            <a:extLst>
              <a:ext uri="{FF2B5EF4-FFF2-40B4-BE49-F238E27FC236}">
                <a16:creationId xmlns:a16="http://schemas.microsoft.com/office/drawing/2014/main" id="{3D2C0374-021E-B508-6A33-BFBF293D161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7452" y="3788778"/>
            <a:ext cx="818037" cy="670601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151701C-BDB6-31CC-299D-27D87087040E}"/>
              </a:ext>
            </a:extLst>
          </p:cNvPr>
          <p:cNvGrpSpPr>
            <a:grpSpLocks noChangeAspect="1"/>
          </p:cNvGrpSpPr>
          <p:nvPr/>
        </p:nvGrpSpPr>
        <p:grpSpPr>
          <a:xfrm>
            <a:off x="3610602" y="3259899"/>
            <a:ext cx="426248" cy="929000"/>
            <a:chOff x="2506283" y="2205607"/>
            <a:chExt cx="648000" cy="1412308"/>
          </a:xfrm>
        </p:grpSpPr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D067FBC3-5402-282D-45D0-668A712B2E02}"/>
                </a:ext>
              </a:extLst>
            </p:cNvPr>
            <p:cNvPicPr>
              <a:picLocks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506283" y="2205607"/>
              <a:ext cx="648000" cy="1412308"/>
            </a:xfrm>
            <a:prstGeom prst="rect">
              <a:avLst/>
            </a:prstGeom>
          </p:spPr>
        </p:pic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99CBA120-BC5B-6386-281C-F4EC4AB83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2731863" y="2362178"/>
              <a:ext cx="196840" cy="105513"/>
            </a:xfrm>
            <a:prstGeom prst="rect">
              <a:avLst/>
            </a:prstGeom>
          </p:spPr>
        </p:pic>
      </p:grpSp>
      <p:pic>
        <p:nvPicPr>
          <p:cNvPr id="87" name="Grafik 86">
            <a:extLst>
              <a:ext uri="{FF2B5EF4-FFF2-40B4-BE49-F238E27FC236}">
                <a16:creationId xmlns:a16="http://schemas.microsoft.com/office/drawing/2014/main" id="{2B587286-274F-C712-FF0F-73616F1E2C0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340677" y="2433550"/>
            <a:ext cx="520971" cy="402333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2D96F1B3-013E-F5C7-67CB-D5AF7D89CBA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280488" y="3669766"/>
            <a:ext cx="2395576" cy="12807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1pPr>
            <a:lvl2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2pPr>
            <a:lvl3pPr marL="216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3pPr>
            <a:lvl4pPr marL="432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4pPr>
            <a:lvl5pPr marL="648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5pPr>
            <a:lvl6pPr marL="864000" indent="-216000" algn="l" defTabSz="914355" rtl="0" eaLnBrk="1" latinLnBrk="0" hangingPunct="1">
              <a:buClr>
                <a:schemeClr val="tx2"/>
              </a:buClr>
              <a:buFont typeface="Wingdings" pitchFamily="2" charset="2"/>
              <a:buChar char="§"/>
            </a:lvl6pPr>
            <a:lvl7pPr marL="1080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7pPr>
            <a:lvl8pPr marL="1296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8pPr>
            <a:lvl9pPr marL="1512000" indent="-216000" algn="l" defTabSz="914355" rtl="0" eaLnBrk="1" latinLnBrk="0" hangingPunct="1">
              <a:buClr>
                <a:schemeClr val="tx2"/>
              </a:buClr>
              <a:buFont typeface="Wingdings" panose="05000000000000000000" pitchFamily="2" charset="2"/>
              <a:buChar char="§"/>
            </a:lvl9pPr>
          </a:lstStyle>
          <a:p>
            <a:pPr marL="0" indent="0" defTabSz="957835">
              <a:lnSpc>
                <a:spcPts val="2200"/>
              </a:lnSpc>
              <a:buNone/>
            </a:pPr>
            <a:r>
              <a:rPr lang="de-DE" sz="1000" i="1" dirty="0">
                <a:solidFill>
                  <a:schemeClr val="dk1"/>
                </a:solidFill>
              </a:rPr>
              <a:t>Autonome Mobile Roboter (AMR) steuern die Intralogistik bedarfsgenau</a:t>
            </a:r>
            <a:endParaRPr lang="de-DE" sz="1000" dirty="0">
              <a:solidFill>
                <a:schemeClr val="dk1"/>
              </a:solidFill>
            </a:endParaRPr>
          </a:p>
          <a:p>
            <a:pPr lvl="0" defTabSz="957835">
              <a:lnSpc>
                <a:spcPts val="2200"/>
              </a:lnSpc>
              <a:buNone/>
            </a:pPr>
            <a:endParaRPr lang="de-DE" sz="1000" dirty="0">
              <a:solidFill>
                <a:schemeClr val="dk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6C8A379-CAC4-3C26-5830-9A542F6BBC9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778845" y="2503459"/>
            <a:ext cx="615555" cy="615555"/>
          </a:xfrm>
          <a:prstGeom prst="rect">
            <a:avLst/>
          </a:prstGeom>
        </p:spPr>
      </p:pic>
      <p:sp>
        <p:nvSpPr>
          <p:cNvPr id="3" name="MIO_OBJECT1">
            <a:extLst>
              <a:ext uri="{FF2B5EF4-FFF2-40B4-BE49-F238E27FC236}">
                <a16:creationId xmlns:a16="http://schemas.microsoft.com/office/drawing/2014/main" id="{4D278B39-C751-0EFB-512B-D5F7C8C6C0DB}"/>
              </a:ext>
            </a:extLst>
          </p:cNvPr>
          <p:cNvSpPr/>
          <p:nvPr/>
        </p:nvSpPr>
        <p:spPr>
          <a:xfrm>
            <a:off x="7145428" y="1725800"/>
            <a:ext cx="2100208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19</a:t>
            </a:r>
          </a:p>
        </p:txBody>
      </p:sp>
      <p:sp>
        <p:nvSpPr>
          <p:cNvPr id="9" name="MIO_OBJECT1">
            <a:extLst>
              <a:ext uri="{FF2B5EF4-FFF2-40B4-BE49-F238E27FC236}">
                <a16:creationId xmlns:a16="http://schemas.microsoft.com/office/drawing/2014/main" id="{E57FFCFC-0791-B386-AA26-AD49A07D5863}"/>
              </a:ext>
            </a:extLst>
          </p:cNvPr>
          <p:cNvSpPr/>
          <p:nvPr/>
        </p:nvSpPr>
        <p:spPr>
          <a:xfrm>
            <a:off x="4942479" y="1725800"/>
            <a:ext cx="2129871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17</a:t>
            </a:r>
          </a:p>
        </p:txBody>
      </p:sp>
      <p:sp>
        <p:nvSpPr>
          <p:cNvPr id="11" name="MIO_OBJECT1">
            <a:extLst>
              <a:ext uri="{FF2B5EF4-FFF2-40B4-BE49-F238E27FC236}">
                <a16:creationId xmlns:a16="http://schemas.microsoft.com/office/drawing/2014/main" id="{43471D71-5616-C205-7B59-B032A69EA06F}"/>
              </a:ext>
            </a:extLst>
          </p:cNvPr>
          <p:cNvSpPr/>
          <p:nvPr/>
        </p:nvSpPr>
        <p:spPr>
          <a:xfrm>
            <a:off x="2758998" y="1725800"/>
            <a:ext cx="2129870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15</a:t>
            </a:r>
          </a:p>
        </p:txBody>
      </p:sp>
      <p:sp>
        <p:nvSpPr>
          <p:cNvPr id="13" name="MIO_OBJECT1">
            <a:extLst>
              <a:ext uri="{FF2B5EF4-FFF2-40B4-BE49-F238E27FC236}">
                <a16:creationId xmlns:a16="http://schemas.microsoft.com/office/drawing/2014/main" id="{4F03C694-8C53-DA9B-C84D-48FDEA162B9D}"/>
              </a:ext>
            </a:extLst>
          </p:cNvPr>
          <p:cNvSpPr/>
          <p:nvPr/>
        </p:nvSpPr>
        <p:spPr>
          <a:xfrm>
            <a:off x="570098" y="1725800"/>
            <a:ext cx="2129870" cy="325039"/>
          </a:xfrm>
          <a:prstGeom prst="chevron">
            <a:avLst>
              <a:gd name="adj" fmla="val 34086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72" tIns="66472" rIns="66472" bIns="66472" rtlCol="0" anchor="ctr" anchorCtr="0"/>
          <a:lstStyle/>
          <a:p>
            <a:pPr algn="ctr"/>
            <a:r>
              <a:rPr lang="de-DE" b="1" dirty="0">
                <a:solidFill>
                  <a:schemeClr val="tx2"/>
                </a:solidFill>
                <a:latin typeface="Arial" panose="020B0604020202020204" pitchFamily="34" charset="0"/>
              </a:rPr>
              <a:t>2009</a:t>
            </a:r>
          </a:p>
        </p:txBody>
      </p:sp>
    </p:spTree>
    <p:extLst>
      <p:ext uri="{BB962C8B-B14F-4D97-AF65-F5344CB8AC3E}">
        <p14:creationId xmlns:p14="http://schemas.microsoft.com/office/powerpoint/2010/main" val="1298728995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48F8CC0-8205-F91A-05CD-FC475DFBBA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48F8CC0-8205-F91A-05CD-FC475DFBB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93FF0BB-3D97-A013-1F25-BC2915D6CD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Ausgangssituation der Intralogistik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F864BE-5849-4C6F-95E4-DAB0C15478F6}"/>
              </a:ext>
            </a:extLst>
          </p:cNvPr>
          <p:cNvSpPr>
            <a:spLocks noGrp="1"/>
          </p:cNvSpPr>
          <p:nvPr/>
        </p:nvSpPr>
        <p:spPr>
          <a:xfrm>
            <a:off x="515938" y="919611"/>
            <a:ext cx="11160000" cy="387798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9741D37-5B15-EDF0-29E8-69BD93E9FC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Lena Dörfler | TW Production Punchingtools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F84596B-5519-D921-A87B-2F830A4CA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9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5909996-F869-58B0-5F81-9F0268B99D9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DB3C81-ADC9-446A-A651-965540DDC1BC}" type="datetime1">
              <a:rPr lang="de-DE" smtClean="0"/>
              <a:pPr/>
              <a:t>19.04.2023</a:t>
            </a:fld>
            <a:endParaRPr lang="de-DE" dirty="0"/>
          </a:p>
        </p:txBody>
      </p:sp>
      <p:pic>
        <p:nvPicPr>
          <p:cNvPr id="12" name="Grafik 11" descr="Benutzer Silhouette">
            <a:extLst>
              <a:ext uri="{FF2B5EF4-FFF2-40B4-BE49-F238E27FC236}">
                <a16:creationId xmlns:a16="http://schemas.microsoft.com/office/drawing/2014/main" id="{EA0E1F54-108A-A7F2-A841-27A86F3B79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22093" y="1235744"/>
            <a:ext cx="631527" cy="631527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E1DFF83F-4B45-B533-AEB3-880E523B5434}"/>
              </a:ext>
            </a:extLst>
          </p:cNvPr>
          <p:cNvSpPr/>
          <p:nvPr/>
        </p:nvSpPr>
        <p:spPr>
          <a:xfrm>
            <a:off x="6872702" y="1270521"/>
            <a:ext cx="3505853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Personalbedarf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914E376-5876-7C56-A5E5-37C795395B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2091" y="2199479"/>
            <a:ext cx="631527" cy="631527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F76F020F-DC66-AE83-10D4-1CE2163C1CF4}"/>
              </a:ext>
            </a:extLst>
          </p:cNvPr>
          <p:cNvSpPr/>
          <p:nvPr/>
        </p:nvSpPr>
        <p:spPr>
          <a:xfrm>
            <a:off x="6872702" y="2228630"/>
            <a:ext cx="3505853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Niedrige Geschwindigkei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D444BC9-EFD2-964F-9551-C5FD7976C8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22092" y="3151961"/>
            <a:ext cx="631527" cy="63152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F55A253C-AF1B-A741-0FBD-742501FCF4B2}"/>
              </a:ext>
            </a:extLst>
          </p:cNvPr>
          <p:cNvSpPr/>
          <p:nvPr/>
        </p:nvSpPr>
        <p:spPr>
          <a:xfrm>
            <a:off x="6872700" y="3192364"/>
            <a:ext cx="3505853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Nicht Bedarfsgesteuert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C394A08B-EE1D-A39F-E0E9-517BEA740B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22094" y="4115696"/>
            <a:ext cx="631527" cy="631527"/>
          </a:xfrm>
          <a:prstGeom prst="rect">
            <a:avLst/>
          </a:prstGeom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B514B9D9-29B9-B73E-9FF6-64CFC6FCE652}"/>
              </a:ext>
            </a:extLst>
          </p:cNvPr>
          <p:cNvSpPr/>
          <p:nvPr/>
        </p:nvSpPr>
        <p:spPr>
          <a:xfrm>
            <a:off x="6872702" y="4150473"/>
            <a:ext cx="3505853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Keine Transparenz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DB70F36-0C3C-2220-3221-846EE650BD9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22093" y="5073805"/>
            <a:ext cx="631527" cy="631527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486E0B3B-D21F-2E1F-176A-090FBF007C9C}"/>
              </a:ext>
            </a:extLst>
          </p:cNvPr>
          <p:cNvSpPr/>
          <p:nvPr/>
        </p:nvSpPr>
        <p:spPr>
          <a:xfrm>
            <a:off x="6872701" y="5108582"/>
            <a:ext cx="3505853" cy="56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Faktor Mensch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F20979A-2929-089E-BB8E-CAA3E9379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00" b="13472"/>
          <a:stretch/>
        </p:blipFill>
        <p:spPr bwMode="auto">
          <a:xfrm>
            <a:off x="731938" y="1113510"/>
            <a:ext cx="3701970" cy="4958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1706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9" grpId="0" animBg="1"/>
      <p:bldP spid="36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6"/>
  <p:tag name="MIO_NUMBER_OF_VALID_LAYOUTS" val="32"/>
  <p:tag name="MIO_EKGUID" val="d2fd8906-871d-4fd1-b428-ee99b0e833c8"/>
  <p:tag name="MIO_VERSION" val="06.12.2022 14:00:15"/>
  <p:tag name="MIO_OBJECTNAME" val="NEW 22 TRUMPF - DE | EN"/>
  <p:tag name="MIO_LASTDOWNLOADED" val="01.03.2023 15:16:34.306"/>
  <p:tag name="MIO_CDID" val="d30371fb-bd2b-4816-a0ce-bd6a1479ab6b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b7951b8-5a94-4a4b-9e93-f74366354e83"/>
  <p:tag name="MIO_GUID" val="5f3ac651-414d-4fa4-ab5f-ca0d5625efad"/>
  <p:tag name="MIO_UPDATE" val="True"/>
  <p:tag name="MIO_VERSION" val="30.11.2021 11:02:28"/>
  <p:tag name="MIO_DBID" val="8236CE71-3243-41A3-904F-7EA9E80C736A"/>
  <p:tag name="MIO_LASTDOWNLOADED" val="28.02.2023 13:41:56.145"/>
  <p:tag name="MIO_OBJECTNAME" val="Überwachung und Analyse - Monitoring and analysis"/>
  <p:tag name="MIO_LASTEDITORNAME" val="empower Brandi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901a71-50fc-489c-a631-4bf158acf65e"/>
  <p:tag name="MIO_GUID" val="5b50f4d3-ae2b-4828-a28d-643788a0e1c2"/>
  <p:tag name="MIO_UPDATE" val="True"/>
  <p:tag name="MIO_VERSION" val="30.11.2021 11:01:21"/>
  <p:tag name="MIO_DBID" val="8236CE71-3243-41A3-904F-7EA9E80C736A"/>
  <p:tag name="MIO_LASTDOWNLOADED" val="28.02.2023 13:42:19.502"/>
  <p:tag name="MIO_OBJECTNAME" val="E-Shop Punching Tools"/>
  <p:tag name="MIO_LASTEDITORNAME" val="empower Brand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1aeeb13-e407-4944-81df-a80930b43142"/>
  <p:tag name="MIO_GUID" val="5999cbcf-cb84-4d00-a4d0-d6fbd81c4b32"/>
  <p:tag name="MIO_UPDATE" val="True"/>
  <p:tag name="MIO_VERSION" val="30.11.2021 11:15:20"/>
  <p:tag name="MIO_DBID" val="8236CE71-3243-41A3-904F-7EA9E80C736A"/>
  <p:tag name="MIO_LASTDOWNLOADED" val="28.02.2023 13:46:24.799"/>
  <p:tag name="MIO_OBJECTNAME" val="Zusammenarbeiten - Working Together"/>
  <p:tag name="MIO_LASTEDITORNAME" val="empower Brandi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4a360bb-2b7e-4788-a6ad-be73d646b601"/>
  <p:tag name="MIO_GUID" val="8b05ed7f-e7d7-426a-a6fd-2d897ff61f39"/>
  <p:tag name="MIO_UPDATE" val="True"/>
  <p:tag name="MIO_VERSION" val="30.11.2021 11:08:04"/>
  <p:tag name="MIO_DBID" val="8236CE71-3243-41A3-904F-7EA9E80C736A"/>
  <p:tag name="MIO_LASTDOWNLOADED" val="27.02.2023 15:27:20.602"/>
  <p:tag name="MIO_OBJECTNAME" val="Punching tool Scanner"/>
  <p:tag name="MIO_LASTEDITORNAME" val="empower Brandi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901a71-50fc-489c-a631-4bf158acf65e"/>
  <p:tag name="MIO_GUID" val="e2464417-e51b-4171-ae25-8076701e4c75"/>
  <p:tag name="MIO_UPDATE" val="True"/>
  <p:tag name="MIO_VERSION" val="30.11.2021 11:01:21"/>
  <p:tag name="MIO_DBID" val="8236CE71-3243-41A3-904F-7EA9E80C736A"/>
  <p:tag name="MIO_LASTDOWNLOADED" val="27.02.2023 15:27:28.370"/>
  <p:tag name="MIO_OBJECTNAME" val="E-Shop Punching Tools"/>
  <p:tag name="MIO_LASTEDITORNAME" val="empower Brandi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4af27b2-d80e-4d9a-ba99-172844ff0952"/>
  <p:tag name="MIO_GUID" val="f5374b13-ad42-403c-90cb-45217c6e8899"/>
  <p:tag name="MIO_UPDATE" val="True"/>
  <p:tag name="MIO_VERSION" val="30.11.2021 10:53:50"/>
  <p:tag name="MIO_DBID" val="8236CE71-3243-41A3-904F-7EA9E80C736A"/>
  <p:tag name="MIO_LASTDOWNLOADED" val="27.02.2023 15:26:35.193"/>
  <p:tag name="MIO_OBJECTNAME" val="Smart Factory - Komplett vernetzt - Completely networked"/>
  <p:tag name="MIO_LASTEDITORNAME" val="empower Brand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4a360bb-2b7e-4788-a6ad-be73d646b601"/>
  <p:tag name="MIO_GUID" val="8b05ed7f-e7d7-426a-a6fd-2d897ff61f39"/>
  <p:tag name="MIO_UPDATE" val="True"/>
  <p:tag name="MIO_VERSION" val="30.11.2021 11:08:04"/>
  <p:tag name="MIO_DBID" val="8236CE71-3243-41A3-904F-7EA9E80C736A"/>
  <p:tag name="MIO_LASTDOWNLOADED" val="27.02.2023 15:27:20.602"/>
  <p:tag name="MIO_OBJECTNAME" val="Punching tool Scanner"/>
  <p:tag name="MIO_LASTEDITORNAME" val="empower Brandi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901a71-50fc-489c-a631-4bf158acf65e"/>
  <p:tag name="MIO_GUID" val="e2464417-e51b-4171-ae25-8076701e4c75"/>
  <p:tag name="MIO_UPDATE" val="True"/>
  <p:tag name="MIO_VERSION" val="30.11.2021 11:01:21"/>
  <p:tag name="MIO_DBID" val="8236CE71-3243-41A3-904F-7EA9E80C736A"/>
  <p:tag name="MIO_LASTDOWNLOADED" val="27.02.2023 15:27:28.370"/>
  <p:tag name="MIO_OBJECTNAME" val="E-Shop Punching Tools"/>
  <p:tag name="MIO_LASTEDITORNAME" val="empower Brandi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4af27b2-d80e-4d9a-ba99-172844ff0952"/>
  <p:tag name="MIO_GUID" val="f5374b13-ad42-403c-90cb-45217c6e8899"/>
  <p:tag name="MIO_UPDATE" val="True"/>
  <p:tag name="MIO_VERSION" val="30.11.2021 10:53:50"/>
  <p:tag name="MIO_DBID" val="8236CE71-3243-41A3-904F-7EA9E80C736A"/>
  <p:tag name="MIO_LASTDOWNLOADED" val="27.02.2023 15:26:35.193"/>
  <p:tag name="MIO_OBJECTNAME" val="Smart Factory - Komplett vernetzt - Completely networked"/>
  <p:tag name="MIO_LASTEDITORNAME" val="empower Brandi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4a360bb-2b7e-4788-a6ad-be73d646b601"/>
  <p:tag name="MIO_GUID" val="8b05ed7f-e7d7-426a-a6fd-2d897ff61f39"/>
  <p:tag name="MIO_UPDATE" val="True"/>
  <p:tag name="MIO_VERSION" val="30.11.2021 11:08:04"/>
  <p:tag name="MIO_DBID" val="8236CE71-3243-41A3-904F-7EA9E80C736A"/>
  <p:tag name="MIO_LASTDOWNLOADED" val="27.02.2023 15:27:20.602"/>
  <p:tag name="MIO_OBJECTNAME" val="Punching tool Scanner"/>
  <p:tag name="MIO_LASTEDITORNAME" val="empower Brandi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e901a71-50fc-489c-a631-4bf158acf65e"/>
  <p:tag name="MIO_GUID" val="e2464417-e51b-4171-ae25-8076701e4c75"/>
  <p:tag name="MIO_UPDATE" val="True"/>
  <p:tag name="MIO_VERSION" val="30.11.2021 11:01:21"/>
  <p:tag name="MIO_DBID" val="8236CE71-3243-41A3-904F-7EA9E80C736A"/>
  <p:tag name="MIO_LASTDOWNLOADED" val="27.02.2023 15:27:28.370"/>
  <p:tag name="MIO_OBJECTNAME" val="E-Shop Punching Tools"/>
  <p:tag name="MIO_LASTEDITORNAME" val="empower Brandi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c70353-449a-458c-af38-81fd801b6559" xsi:nil="true"/>
    <lcf76f155ced4ddcb4097134ff3c332f xmlns="46a56ff4-038c-43a1-8198-66df79d5b4f2">
      <Terms xmlns="http://schemas.microsoft.com/office/infopath/2007/PartnerControls"/>
    </lcf76f155ced4ddcb4097134ff3c332f>
    <Uhrzeit xmlns="46a56ff4-038c-43a1-8198-66df79d5b4f2" xsi:nil="true"/>
  </documentManagement>
</p:properties>
</file>

<file path=customXml/itemProps1.xml><?xml version="1.0" encoding="utf-8"?>
<ds:datastoreItem xmlns:ds="http://schemas.openxmlformats.org/officeDocument/2006/customXml" ds:itemID="{56F1EAC6-056E-4C30-8B30-36B9A5C4BECE}"/>
</file>

<file path=customXml/itemProps2.xml><?xml version="1.0" encoding="utf-8"?>
<ds:datastoreItem xmlns:ds="http://schemas.openxmlformats.org/officeDocument/2006/customXml" ds:itemID="{9A643B48-A88A-48E2-9A37-BAF77BCB1674}"/>
</file>

<file path=customXml/itemProps3.xml><?xml version="1.0" encoding="utf-8"?>
<ds:datastoreItem xmlns:ds="http://schemas.openxmlformats.org/officeDocument/2006/customXml" ds:itemID="{19261C50-1F74-42A8-BB3A-0028CDFB333F}"/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Words>876</Words>
  <Application>Microsoft Office PowerPoint</Application>
  <PresentationFormat>Breitbild</PresentationFormat>
  <Paragraphs>299</Paragraphs>
  <Slides>18</Slides>
  <Notes>15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3" baseType="lpstr">
      <vt:lpstr>Arial</vt:lpstr>
      <vt:lpstr>Segoe UI</vt:lpstr>
      <vt:lpstr>Wingdings</vt:lpstr>
      <vt:lpstr>1_Trumpf PowerPoint 2019</vt:lpstr>
      <vt:lpstr>think-cell Folie</vt:lpstr>
      <vt:lpstr>   Stanzwerkzeuge aus der Smart Factory - Automatisierte Intralogistik</vt:lpstr>
      <vt:lpstr>Unsere Produkte: Stanzwerkzeuge für TRUMPF Maschinen</vt:lpstr>
      <vt:lpstr>Unsere Herausforderungen: Business Stanzwerkzeuge</vt:lpstr>
      <vt:lpstr>Industrie 4.0</vt:lpstr>
      <vt:lpstr>Industrie 4.0</vt:lpstr>
      <vt:lpstr>Industrie 4.0</vt:lpstr>
      <vt:lpstr>Industrie 4.0</vt:lpstr>
      <vt:lpstr>Industrie 4.0</vt:lpstr>
      <vt:lpstr>Ausgangssituation der Intralogistik</vt:lpstr>
      <vt:lpstr>Video 1</vt:lpstr>
      <vt:lpstr>AMRs in Gerlingen</vt:lpstr>
      <vt:lpstr>Fleet Manager</vt:lpstr>
      <vt:lpstr>Video 2</vt:lpstr>
      <vt:lpstr>AMRs in Gerlingen</vt:lpstr>
      <vt:lpstr>AMRs in Gerlingen</vt:lpstr>
      <vt:lpstr>PowerPoint-Präsentation</vt:lpstr>
      <vt:lpstr>Unsere Produkte: Stanzwerkzeuge für TRUMPF Maschinen</vt:lpstr>
      <vt:lpstr>AMRs im Werk Gerlinge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lastModifiedBy>Doerfler, Lena</cp:lastModifiedBy>
  <cp:revision>21</cp:revision>
  <cp:lastPrinted>2019-01-11T14:04:50Z</cp:lastPrinted>
  <dcterms:created xsi:type="dcterms:W3CDTF">2019-04-11T08:14:40Z</dcterms:created>
  <dcterms:modified xsi:type="dcterms:W3CDTF">2023-04-20T14:0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</Properties>
</file>